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0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1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4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6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7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8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9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0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1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22.xml" ContentType="application/vnd.openxmlformats-officedocument.theme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23.xml" ContentType="application/vnd.openxmlformats-officedocument.theme+xml"/>
  <Override PartName="/ppt/theme/theme24.xml" ContentType="application/vnd.openxmlformats-officedocument.theme+xml"/>
  <Override PartName="/ppt/theme/theme2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97" r:id="rId3"/>
    <p:sldMasterId id="2147483734" r:id="rId4"/>
    <p:sldMasterId id="2147483782" r:id="rId5"/>
    <p:sldMasterId id="2147483794" r:id="rId6"/>
    <p:sldMasterId id="2147483806" r:id="rId7"/>
    <p:sldMasterId id="2147483821" r:id="rId8"/>
    <p:sldMasterId id="2147483833" r:id="rId9"/>
    <p:sldMasterId id="2147483857" r:id="rId10"/>
    <p:sldMasterId id="2147483897" r:id="rId11"/>
    <p:sldMasterId id="2147483948" r:id="rId12"/>
    <p:sldMasterId id="2147483960" r:id="rId13"/>
    <p:sldMasterId id="2147484000" r:id="rId14"/>
    <p:sldMasterId id="2147484025" r:id="rId15"/>
    <p:sldMasterId id="2147484046" r:id="rId16"/>
    <p:sldMasterId id="2147484110" r:id="rId17"/>
    <p:sldMasterId id="2147484140" r:id="rId18"/>
    <p:sldMasterId id="2147484155" r:id="rId19"/>
    <p:sldMasterId id="2147484216" r:id="rId20"/>
    <p:sldMasterId id="2147484228" r:id="rId21"/>
    <p:sldMasterId id="2147484258" r:id="rId22"/>
    <p:sldMasterId id="2147484285" r:id="rId23"/>
  </p:sldMasterIdLst>
  <p:notesMasterIdLst>
    <p:notesMasterId r:id="rId36"/>
  </p:notesMasterIdLst>
  <p:handoutMasterIdLst>
    <p:handoutMasterId r:id="rId37"/>
  </p:handoutMasterIdLst>
  <p:sldIdLst>
    <p:sldId id="1460" r:id="rId24"/>
    <p:sldId id="1461" r:id="rId25"/>
    <p:sldId id="1462" r:id="rId26"/>
    <p:sldId id="1467" r:id="rId27"/>
    <p:sldId id="1463" r:id="rId28"/>
    <p:sldId id="1465" r:id="rId29"/>
    <p:sldId id="1466" r:id="rId30"/>
    <p:sldId id="1468" r:id="rId31"/>
    <p:sldId id="1469" r:id="rId32"/>
    <p:sldId id="1470" r:id="rId33"/>
    <p:sldId id="1471" r:id="rId34"/>
    <p:sldId id="1472" r:id="rId35"/>
  </p:sldIdLst>
  <p:sldSz cx="9144000" cy="6858000" type="screen4x3"/>
  <p:notesSz cx="6985000" cy="9271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70"/>
    <a:srgbClr val="007635"/>
    <a:srgbClr val="DEE8F2"/>
    <a:srgbClr val="CFDDED"/>
    <a:srgbClr val="D9DFDB"/>
    <a:srgbClr val="E7E0EC"/>
    <a:srgbClr val="D1C6DC"/>
    <a:srgbClr val="AFE8FF"/>
    <a:srgbClr val="E85F31"/>
    <a:srgbClr val="C9AE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75" autoAdjust="0"/>
    <p:restoredTop sz="96529" autoAdjust="0"/>
  </p:normalViewPr>
  <p:slideViewPr>
    <p:cSldViewPr>
      <p:cViewPr varScale="1">
        <p:scale>
          <a:sx n="92" d="100"/>
          <a:sy n="92" d="100"/>
        </p:scale>
        <p:origin x="1392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726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3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5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3550"/>
          </a:xfrm>
          <a:prstGeom prst="rect">
            <a:avLst/>
          </a:prstGeom>
        </p:spPr>
        <p:txBody>
          <a:bodyPr vert="horz" lIns="92875" tIns="46437" rIns="92875" bIns="4643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1" y="0"/>
            <a:ext cx="3026833" cy="463550"/>
          </a:xfrm>
          <a:prstGeom prst="rect">
            <a:avLst/>
          </a:prstGeom>
        </p:spPr>
        <p:txBody>
          <a:bodyPr vert="horz" lIns="92875" tIns="46437" rIns="92875" bIns="46437" rtlCol="0"/>
          <a:lstStyle>
            <a:lvl1pPr algn="r">
              <a:defRPr sz="1200"/>
            </a:lvl1pPr>
          </a:lstStyle>
          <a:p>
            <a:fld id="{DFDC35EB-D350-4898-BC45-E03AE4B3C2A5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05841"/>
            <a:ext cx="3026833" cy="463550"/>
          </a:xfrm>
          <a:prstGeom prst="rect">
            <a:avLst/>
          </a:prstGeom>
        </p:spPr>
        <p:txBody>
          <a:bodyPr vert="horz" lIns="92875" tIns="46437" rIns="92875" bIns="4643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1" y="8805841"/>
            <a:ext cx="3026833" cy="463550"/>
          </a:xfrm>
          <a:prstGeom prst="rect">
            <a:avLst/>
          </a:prstGeom>
        </p:spPr>
        <p:txBody>
          <a:bodyPr vert="horz" lIns="92875" tIns="46437" rIns="92875" bIns="46437" rtlCol="0" anchor="b"/>
          <a:lstStyle>
            <a:lvl1pPr algn="r">
              <a:defRPr sz="1200"/>
            </a:lvl1pPr>
          </a:lstStyle>
          <a:p>
            <a:fld id="{5BD8353E-F4C2-4280-B49E-F0B0A4F6DDE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6295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3550"/>
          </a:xfrm>
          <a:prstGeom prst="rect">
            <a:avLst/>
          </a:prstGeom>
        </p:spPr>
        <p:txBody>
          <a:bodyPr vert="horz" lIns="92875" tIns="46437" rIns="92875" bIns="4643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1" y="0"/>
            <a:ext cx="3026833" cy="463550"/>
          </a:xfrm>
          <a:prstGeom prst="rect">
            <a:avLst/>
          </a:prstGeom>
        </p:spPr>
        <p:txBody>
          <a:bodyPr vert="horz" lIns="92875" tIns="46437" rIns="92875" bIns="46437" rtlCol="0"/>
          <a:lstStyle>
            <a:lvl1pPr algn="r">
              <a:defRPr sz="1200"/>
            </a:lvl1pPr>
          </a:lstStyle>
          <a:p>
            <a:fld id="{EDC45FF1-7878-4B2C-A481-E2F0AA92884A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4750" y="695325"/>
            <a:ext cx="4635500" cy="3476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75" tIns="46437" rIns="92875" bIns="4643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3725"/>
            <a:ext cx="5588000" cy="4171950"/>
          </a:xfrm>
          <a:prstGeom prst="rect">
            <a:avLst/>
          </a:prstGeom>
        </p:spPr>
        <p:txBody>
          <a:bodyPr vert="horz" lIns="92875" tIns="46437" rIns="92875" bIns="4643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05841"/>
            <a:ext cx="3026833" cy="463550"/>
          </a:xfrm>
          <a:prstGeom prst="rect">
            <a:avLst/>
          </a:prstGeom>
        </p:spPr>
        <p:txBody>
          <a:bodyPr vert="horz" lIns="92875" tIns="46437" rIns="92875" bIns="4643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1" y="8805841"/>
            <a:ext cx="3026833" cy="463550"/>
          </a:xfrm>
          <a:prstGeom prst="rect">
            <a:avLst/>
          </a:prstGeom>
        </p:spPr>
        <p:txBody>
          <a:bodyPr vert="horz" lIns="92875" tIns="46437" rIns="92875" bIns="46437" rtlCol="0" anchor="b"/>
          <a:lstStyle>
            <a:lvl1pPr algn="r">
              <a:defRPr sz="1200"/>
            </a:lvl1pPr>
          </a:lstStyle>
          <a:p>
            <a:fld id="{DA8C6236-D655-4975-B447-EC573D7703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481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1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NULL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jpeg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png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png"/><Relationship Id="rId5" Type="http://schemas.openxmlformats.org/officeDocument/2006/relationships/image" Target="NULL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2.xml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pic>
        <p:nvPicPr>
          <p:cNvPr id="10" name="Picture 9"/>
          <p:cNvPicPr/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0" y="1066800"/>
            <a:ext cx="1219200" cy="6858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85910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146400-E204-46BB-AA0A-BDF002B3C5DA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57993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7E8077F-652B-40EB-B30C-5A6F0CBB5676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20247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B57F5C3-615F-48F1-B5EC-5CF941E98A95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86058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71308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-190500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909774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E095131F-2DB1-4C11-90F6-F0E7DA846E3D}" type="datetime1">
              <a:rPr lang="en-US" smtClean="0"/>
              <a:pPr>
                <a:defRPr/>
              </a:pPr>
              <a:t>4/18/2017</a:t>
            </a:fld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A75CADEF-469C-4562-8C1F-7CC636A1FA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1488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A5C27FD4-85C1-4DF5-9263-3DF51281EA14}" type="datetime1">
              <a:rPr lang="en-US" smtClean="0"/>
              <a:pPr>
                <a:defRPr/>
              </a:pPr>
              <a:t>4/18/2017</a:t>
            </a:fld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58946189-3C57-4A3B-951E-D504B79B51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496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9F0028CB-4C9E-4DDC-BEB8-4FBFCE7A9044}" type="datetime1">
              <a:rPr lang="en-US" smtClean="0"/>
              <a:pPr>
                <a:defRPr/>
              </a:pPr>
              <a:t>4/18/2017</a:t>
            </a:fld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05F2E4B6-1F33-426A-82D4-13C323645F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01509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51026A33-2A79-41AB-BF91-50F1FFA9C42A}" type="datetime1">
              <a:rPr lang="en-US" smtClean="0"/>
              <a:pPr>
                <a:defRPr/>
              </a:pPr>
              <a:t>4/18/2017</a:t>
            </a:fld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C64B3D6D-939A-4DF5-8131-BF471027EBC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40137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61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13819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227942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1392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086397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65642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64417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8743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702061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6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219200" y="2743200"/>
            <a:ext cx="6781800" cy="1447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216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9419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-190106"/>
            <a:ext cx="9525000" cy="71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39116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1356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E8B740-EFEA-4711-830C-458CE141F629}" type="datetime1">
              <a:rPr lang="en-US">
                <a:solidFill>
                  <a:prstClr val="black"/>
                </a:solidFill>
              </a:rPr>
              <a:pPr/>
              <a:t>4/1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5D6609-DC0F-4E37-ABC6-5A6B4BB0A69F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56139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8D97692-DC16-447C-A8B5-F1A2CBE0D34E}" type="datetime1">
              <a:rPr lang="en-US">
                <a:solidFill>
                  <a:prstClr val="black"/>
                </a:solidFill>
              </a:rPr>
              <a:pPr/>
              <a:t>4/1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C2CF07-7429-4804-A8C2-0949D487DAFF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0455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FCD1A4-B0A0-44E9-8CC9-6FEF7CAFDCC7}" type="datetime1">
              <a:rPr lang="en-US">
                <a:solidFill>
                  <a:prstClr val="black"/>
                </a:solidFill>
              </a:rPr>
              <a:pPr/>
              <a:t>4/1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D358BF-C03F-49A9-8DD9-63B89C6ACAD4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92718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C9D3EA-7433-4329-B971-E44085081A3E}" type="datetime1">
              <a:rPr lang="en-US">
                <a:solidFill>
                  <a:prstClr val="black"/>
                </a:solidFill>
              </a:rPr>
              <a:pPr/>
              <a:t>4/1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8ED6168-4A42-406B-AA4E-AF3184462135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59696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81456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644563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03972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390939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77936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41207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3270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62480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916905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43ACFAE6-FF52-4561-8FE4-68F196B2A67E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59" y="165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59" y="165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 bwMode="auto">
          <a:xfrm>
            <a:off x="0" y="898959"/>
            <a:ext cx="9144000" cy="380640"/>
            <a:chOff x="0" y="881063"/>
            <a:chExt cx="8961438" cy="373062"/>
          </a:xfrm>
        </p:grpSpPr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0" y="881063"/>
              <a:ext cx="1458913" cy="373062"/>
            </a:xfrm>
            <a:prstGeom prst="rect">
              <a:avLst/>
            </a:prstGeom>
            <a:solidFill>
              <a:srgbClr val="FFCB3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1391" tIns="45695" rIns="91391" bIns="45695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538163" y="946150"/>
              <a:ext cx="8423275" cy="244475"/>
            </a:xfrm>
            <a:prstGeom prst="rect">
              <a:avLst/>
            </a:prstGeom>
            <a:solidFill>
              <a:srgbClr val="007A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1391" tIns="45695" rIns="91391" bIns="45695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Rectangle 14"/>
          <p:cNvSpPr>
            <a:spLocks noChangeArrowheads="1"/>
          </p:cNvSpPr>
          <p:nvPr userDrawn="1"/>
        </p:nvSpPr>
        <p:spPr bwMode="auto">
          <a:xfrm>
            <a:off x="440622" y="5986577"/>
            <a:ext cx="8262807" cy="77748"/>
          </a:xfrm>
          <a:prstGeom prst="rect">
            <a:avLst/>
          </a:prstGeom>
          <a:solidFill>
            <a:srgbClr val="007AB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2876" tIns="46442" rIns="92876" bIns="46442" anchor="ctr"/>
          <a:lstStyle/>
          <a:p>
            <a:pPr algn="ctr" defTabSz="91314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D5C75"/>
              </a:solidFill>
            </a:endParaRPr>
          </a:p>
        </p:txBody>
      </p:sp>
      <p:sp>
        <p:nvSpPr>
          <p:cNvPr id="12" name="doc id"/>
          <p:cNvSpPr txBox="1">
            <a:spLocks noChangeArrowheads="1"/>
          </p:cNvSpPr>
          <p:nvPr userDrawn="1"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14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ectangle 59"/>
          <p:cNvSpPr>
            <a:spLocks noChangeArrowheads="1"/>
          </p:cNvSpPr>
          <p:nvPr userDrawn="1"/>
        </p:nvSpPr>
        <p:spPr bwMode="auto">
          <a:xfrm>
            <a:off x="2296570" y="6500897"/>
            <a:ext cx="509998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13141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i="1" dirty="0">
                <a:solidFill>
                  <a:srgbClr val="000000"/>
                </a:solidFill>
              </a:rPr>
              <a:t>The material in this document has not been reviewed or approved by management</a:t>
            </a:r>
          </a:p>
        </p:txBody>
      </p:sp>
      <p:pic>
        <p:nvPicPr>
          <p:cNvPr id="14" name="Picture 15" descr="PGE-727333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628" y="6338062"/>
            <a:ext cx="1444898" cy="388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951495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3ACFAE6-FF52-4561-8FE4-68F196B2A67E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2A75F3-D377-414D-94E3-0348353B136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338083"/>
      </p:ext>
    </p:extLst>
  </p:cSld>
  <p:clrMapOvr>
    <a:masterClrMapping/>
  </p:clrMapOvr>
  <p:hf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3ACFAE6-FF52-4561-8FE4-68F196B2A67E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2A75F3-D377-414D-94E3-0348353B136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343838"/>
      </p:ext>
    </p:extLst>
  </p:cSld>
  <p:clrMapOvr>
    <a:masterClrMapping/>
  </p:clrMapOvr>
  <p:hf hdr="0" ft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E97EBAB-E979-42E3-B04A-A0B1EA8D4D74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38F940-CB9F-4965-BB4A-707A330A3E9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59055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3ACFAE6-FF52-4561-8FE4-68F196B2A67E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2A75F3-D377-414D-94E3-0348353B136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396840"/>
      </p:ext>
    </p:extLst>
  </p:cSld>
  <p:clrMapOvr>
    <a:masterClrMapping/>
  </p:clrMapOvr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3ACFAE6-FF52-4561-8FE4-68F196B2A67E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2A75F3-D377-414D-94E3-0348353B136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812002" y="657297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3141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314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8368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78E08B-4593-4CA9-BB65-FA4370EC8D93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D6C394-D295-4CB0-9A84-2898E447235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50983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3ACFAE6-FF52-4561-8FE4-68F196B2A67E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2A75F3-D377-414D-94E3-0348353B136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73333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7897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3ACFAE6-FF52-4561-8FE4-68F196B2A67E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2A75F3-D377-414D-94E3-0348353B136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900509"/>
      </p:ext>
    </p:extLst>
  </p:cSld>
  <p:clrMapOvr>
    <a:masterClrMapping/>
  </p:clrMapOvr>
  <p:hf hdr="0" ft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3ACFAE6-FF52-4561-8FE4-68F196B2A67E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2A75F3-D377-414D-94E3-0348353B136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544593"/>
      </p:ext>
    </p:extLst>
  </p:cSld>
  <p:clrMapOvr>
    <a:masterClrMapping/>
  </p:clrMapOvr>
  <p:hf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3ACFAE6-FF52-4561-8FE4-68F196B2A67E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2A75F3-D377-414D-94E3-0348353B136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452748"/>
      </p:ext>
    </p:extLst>
  </p:cSld>
  <p:clrMapOvr>
    <a:masterClrMapping/>
  </p:clrMapOvr>
  <p:hf hdr="0" ft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59" y="165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59" y="165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 bwMode="auto">
          <a:xfrm>
            <a:off x="0" y="898959"/>
            <a:ext cx="9144000" cy="380640"/>
            <a:chOff x="0" y="881063"/>
            <a:chExt cx="8961438" cy="373062"/>
          </a:xfrm>
        </p:grpSpPr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0" y="881063"/>
              <a:ext cx="1458913" cy="373062"/>
            </a:xfrm>
            <a:prstGeom prst="rect">
              <a:avLst/>
            </a:prstGeom>
            <a:solidFill>
              <a:srgbClr val="FFCB3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1391" tIns="45695" rIns="91391" bIns="45695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538163" y="946150"/>
              <a:ext cx="8423275" cy="244475"/>
            </a:xfrm>
            <a:prstGeom prst="rect">
              <a:avLst/>
            </a:prstGeom>
            <a:solidFill>
              <a:srgbClr val="007A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1391" tIns="45695" rIns="91391" bIns="45695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14"/>
          <p:cNvSpPr>
            <a:spLocks noChangeArrowheads="1"/>
          </p:cNvSpPr>
          <p:nvPr userDrawn="1"/>
        </p:nvSpPr>
        <p:spPr bwMode="auto">
          <a:xfrm>
            <a:off x="440622" y="5986577"/>
            <a:ext cx="8262807" cy="77748"/>
          </a:xfrm>
          <a:prstGeom prst="rect">
            <a:avLst/>
          </a:prstGeom>
          <a:solidFill>
            <a:srgbClr val="007AB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2876" tIns="46442" rIns="92876" bIns="46442" anchor="ctr"/>
          <a:lstStyle/>
          <a:p>
            <a:pPr algn="ctr" defTabSz="91314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D5C75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14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781069" y="5030949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14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14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781066" y="1851960"/>
            <a:ext cx="7519009" cy="50783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3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81066" y="3585433"/>
            <a:ext cx="751900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9" name="Rectangle 59"/>
          <p:cNvSpPr>
            <a:spLocks noChangeArrowheads="1"/>
          </p:cNvSpPr>
          <p:nvPr userDrawn="1"/>
        </p:nvSpPr>
        <p:spPr bwMode="auto">
          <a:xfrm>
            <a:off x="2296570" y="6500897"/>
            <a:ext cx="509998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13141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i="1" dirty="0">
                <a:solidFill>
                  <a:srgbClr val="000000"/>
                </a:solidFill>
              </a:rPr>
              <a:t>The material in this document has not been reviewed or approved by management</a:t>
            </a:r>
          </a:p>
        </p:txBody>
      </p:sp>
      <p:pic>
        <p:nvPicPr>
          <p:cNvPr id="18" name="Picture 15" descr="PGE-727333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628" y="6338062"/>
            <a:ext cx="1444898" cy="388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693858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 txBox="1">
            <a:spLocks/>
          </p:cNvSpPr>
          <p:nvPr userDrawn="1"/>
        </p:nvSpPr>
        <p:spPr>
          <a:xfrm>
            <a:off x="8812002" y="657297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3141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314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8" y="485222"/>
            <a:ext cx="828210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667080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164161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E97EBAB-E979-42E3-B04A-A0B1EA8D4D74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138F940-CB9F-4965-BB4A-707A330A3E9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68314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79988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62940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8" descr="E3 PPT Title SF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527" b="14734" l="4511" r="48448">
                        <a14:foregroundMark x1="8084" y1="5251" x2="7440" y2="11912"/>
                        <a14:foregroundMark x1="14353" y1="7837" x2="14353" y2="7837"/>
                        <a14:foregroundMark x1="15466" y1="8699" x2="15466" y2="8699"/>
                        <a14:foregroundMark x1="16579" y1="8777" x2="16579" y2="8777"/>
                        <a14:foregroundMark x1="17809" y1="8699" x2="17809" y2="8699"/>
                        <a14:foregroundMark x1="19977" y1="8777" x2="19977" y2="8777"/>
                        <a14:foregroundMark x1="21441" y1="8934" x2="21441" y2="8934"/>
                        <a14:foregroundMark x1="22437" y1="8699" x2="22437" y2="8699"/>
                        <a14:foregroundMark x1="23492" y1="8699" x2="23492" y2="8699"/>
                        <a14:foregroundMark x1="24839" y1="8856" x2="24839" y2="8856"/>
                        <a14:foregroundMark x1="26128" y1="8777" x2="26128" y2="8777"/>
                        <a14:foregroundMark x1="26069" y1="7915" x2="26069" y2="7915"/>
                        <a14:foregroundMark x1="26655" y1="9013" x2="26655" y2="9013"/>
                        <a14:foregroundMark x1="27475" y1="8464" x2="27475" y2="8464"/>
                        <a14:foregroundMark x1="28647" y1="8621" x2="28647" y2="8621"/>
                        <a14:foregroundMark x1="29936" y1="8621" x2="29936" y2="8621"/>
                        <a14:foregroundMark x1="31927" y1="8386" x2="31927" y2="8386"/>
                        <a14:foregroundMark x1="32982" y1="8621" x2="32982" y2="8621"/>
                        <a14:foregroundMark x1="34271" y1="8386" x2="34271" y2="8386"/>
                        <a14:foregroundMark x1="35267" y1="8464" x2="35267" y2="8464"/>
                        <a14:foregroundMark x1="36380" y1="8150" x2="36380" y2="8150"/>
                        <a14:foregroundMark x1="37317" y1="8464" x2="37317" y2="8464"/>
                        <a14:foregroundMark x1="38781" y1="8464" x2="38781" y2="8464"/>
                        <a14:foregroundMark x1="36321" y1="9013" x2="36321" y2="9013"/>
                        <a14:foregroundMark x1="39543" y1="8777" x2="39543" y2="8777"/>
                        <a14:foregroundMark x1="41301" y1="8464" x2="41301" y2="8464"/>
                        <a14:foregroundMark x1="42355" y1="8464" x2="42355" y2="8464"/>
                        <a14:foregroundMark x1="43351" y1="8542" x2="43351" y2="8542"/>
                        <a14:foregroundMark x1="45108" y1="8542" x2="45108" y2="8542"/>
                        <a14:foregroundMark x1="45108" y1="7915" x2="45108" y2="7915"/>
                        <a14:foregroundMark x1="45694" y1="8777" x2="45694" y2="8777"/>
                        <a14:foregroundMark x1="46983" y1="8856" x2="46983" y2="8856"/>
                        <a14:backgroundMark x1="16462" y1="9169" x2="16462" y2="916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99" t="2210" r="50000" b="83830"/>
          <a:stretch/>
        </p:blipFill>
        <p:spPr bwMode="auto">
          <a:xfrm>
            <a:off x="274320" y="0"/>
            <a:ext cx="43243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0457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74735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98172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46038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04554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61932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76465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81367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66989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96038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200" y="-76200"/>
            <a:ext cx="9525000" cy="71628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219200" y="2743200"/>
            <a:ext cx="6781800" cy="1447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283280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59" y="165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59" y="165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 bwMode="auto">
          <a:xfrm>
            <a:off x="0" y="898959"/>
            <a:ext cx="9144000" cy="380640"/>
            <a:chOff x="0" y="881063"/>
            <a:chExt cx="8961438" cy="373062"/>
          </a:xfrm>
        </p:grpSpPr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0" y="881063"/>
              <a:ext cx="1458913" cy="373062"/>
            </a:xfrm>
            <a:prstGeom prst="rect">
              <a:avLst/>
            </a:prstGeom>
            <a:solidFill>
              <a:srgbClr val="FFCB3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1391" tIns="45695" rIns="91391" bIns="45695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538163" y="946150"/>
              <a:ext cx="8423275" cy="244475"/>
            </a:xfrm>
            <a:prstGeom prst="rect">
              <a:avLst/>
            </a:prstGeom>
            <a:solidFill>
              <a:srgbClr val="007A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1391" tIns="45695" rIns="91391" bIns="45695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14"/>
          <p:cNvSpPr>
            <a:spLocks noChangeArrowheads="1"/>
          </p:cNvSpPr>
          <p:nvPr userDrawn="1"/>
        </p:nvSpPr>
        <p:spPr bwMode="auto">
          <a:xfrm>
            <a:off x="440622" y="5986577"/>
            <a:ext cx="8262807" cy="77748"/>
          </a:xfrm>
          <a:prstGeom prst="rect">
            <a:avLst/>
          </a:prstGeom>
          <a:solidFill>
            <a:srgbClr val="007AB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2876" tIns="46442" rIns="92876" bIns="46442" anchor="ctr"/>
          <a:lstStyle/>
          <a:p>
            <a:pPr algn="ctr" defTabSz="91314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D5C75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14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781069" y="5030949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14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14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781066" y="1851960"/>
            <a:ext cx="7519009" cy="50783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3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81066" y="3585433"/>
            <a:ext cx="751900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9" name="Rectangle 59"/>
          <p:cNvSpPr>
            <a:spLocks noChangeArrowheads="1"/>
          </p:cNvSpPr>
          <p:nvPr userDrawn="1"/>
        </p:nvSpPr>
        <p:spPr bwMode="auto">
          <a:xfrm>
            <a:off x="2296570" y="6500897"/>
            <a:ext cx="509998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13141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i="1" dirty="0">
                <a:solidFill>
                  <a:srgbClr val="000000"/>
                </a:solidFill>
              </a:rPr>
              <a:t>The material in this document has not been reviewed or approved by management</a:t>
            </a:r>
          </a:p>
        </p:txBody>
      </p:sp>
      <p:pic>
        <p:nvPicPr>
          <p:cNvPr id="18" name="Picture 15" descr="PGE-727333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628" y="6338062"/>
            <a:ext cx="1444898" cy="388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8715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36344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 txBox="1">
            <a:spLocks/>
          </p:cNvSpPr>
          <p:nvPr userDrawn="1"/>
        </p:nvSpPr>
        <p:spPr>
          <a:xfrm>
            <a:off x="8812002" y="657297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3141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314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8" y="485222"/>
            <a:ext cx="828210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460217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548305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E97EBAB-E979-42E3-B04A-A0B1EA8D4D74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138F940-CB9F-4965-BB4A-707A330A3E9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03076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B78E08B-4593-4CA9-BB65-FA4370EC8D93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6D6C394-D295-4CB0-9A84-2898E447235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93841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7547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86732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8" descr="E3 PPT Title SF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527" b="14734" l="4511" r="48448">
                        <a14:foregroundMark x1="8084" y1="5251" x2="7440" y2="11912"/>
                        <a14:foregroundMark x1="14353" y1="7837" x2="14353" y2="7837"/>
                        <a14:foregroundMark x1="15466" y1="8699" x2="15466" y2="8699"/>
                        <a14:foregroundMark x1="16579" y1="8777" x2="16579" y2="8777"/>
                        <a14:foregroundMark x1="17809" y1="8699" x2="17809" y2="8699"/>
                        <a14:foregroundMark x1="19977" y1="8777" x2="19977" y2="8777"/>
                        <a14:foregroundMark x1="21441" y1="8934" x2="21441" y2="8934"/>
                        <a14:foregroundMark x1="22437" y1="8699" x2="22437" y2="8699"/>
                        <a14:foregroundMark x1="23492" y1="8699" x2="23492" y2="8699"/>
                        <a14:foregroundMark x1="24839" y1="8856" x2="24839" y2="8856"/>
                        <a14:foregroundMark x1="26128" y1="8777" x2="26128" y2="8777"/>
                        <a14:foregroundMark x1="26069" y1="7915" x2="26069" y2="7915"/>
                        <a14:foregroundMark x1="26655" y1="9013" x2="26655" y2="9013"/>
                        <a14:foregroundMark x1="27475" y1="8464" x2="27475" y2="8464"/>
                        <a14:foregroundMark x1="28647" y1="8621" x2="28647" y2="8621"/>
                        <a14:foregroundMark x1="29936" y1="8621" x2="29936" y2="8621"/>
                        <a14:foregroundMark x1="31927" y1="8386" x2="31927" y2="8386"/>
                        <a14:foregroundMark x1="32982" y1="8621" x2="32982" y2="8621"/>
                        <a14:foregroundMark x1="34271" y1="8386" x2="34271" y2="8386"/>
                        <a14:foregroundMark x1="35267" y1="8464" x2="35267" y2="8464"/>
                        <a14:foregroundMark x1="36380" y1="8150" x2="36380" y2="8150"/>
                        <a14:foregroundMark x1="37317" y1="8464" x2="37317" y2="8464"/>
                        <a14:foregroundMark x1="38781" y1="8464" x2="38781" y2="8464"/>
                        <a14:foregroundMark x1="36321" y1="9013" x2="36321" y2="9013"/>
                        <a14:foregroundMark x1="39543" y1="8777" x2="39543" y2="8777"/>
                        <a14:foregroundMark x1="41301" y1="8464" x2="41301" y2="8464"/>
                        <a14:foregroundMark x1="42355" y1="8464" x2="42355" y2="8464"/>
                        <a14:foregroundMark x1="43351" y1="8542" x2="43351" y2="8542"/>
                        <a14:foregroundMark x1="45108" y1="8542" x2="45108" y2="8542"/>
                        <a14:foregroundMark x1="45108" y1="7915" x2="45108" y2="7915"/>
                        <a14:foregroundMark x1="45694" y1="8777" x2="45694" y2="8777"/>
                        <a14:foregroundMark x1="46983" y1="8856" x2="46983" y2="8856"/>
                        <a14:backgroundMark x1="16462" y1="9169" x2="16462" y2="916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99" t="2210" r="50000" b="83830"/>
          <a:stretch/>
        </p:blipFill>
        <p:spPr bwMode="auto">
          <a:xfrm>
            <a:off x="274320" y="0"/>
            <a:ext cx="43243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14050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78282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24952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2589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71462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228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02021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30795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16478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31688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00788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-190106"/>
            <a:ext cx="9525000" cy="71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067832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43650"/>
            <a:ext cx="2895600" cy="476250"/>
          </a:xfr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3500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5020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4171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59634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42660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81609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228258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46295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851807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69712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332012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27466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515507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4570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44206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-190106"/>
            <a:ext cx="9525000" cy="71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07362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43650"/>
            <a:ext cx="2895600" cy="476250"/>
          </a:xfr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79577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0556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83684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0585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70807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611200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23931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952964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4147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chemeClr val="accent1"/>
                </a:solidFill>
              </a:rPr>
              <a:pPr/>
              <a:t>‹#›</a:t>
            </a:fld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9136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4889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274128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08791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865480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34771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30840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8" descr="E3 PPT Title SF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527" b="14734" l="4511" r="48448">
                        <a14:foregroundMark x1="8084" y1="5251" x2="7440" y2="11912"/>
                        <a14:foregroundMark x1="14353" y1="7837" x2="14353" y2="7837"/>
                        <a14:foregroundMark x1="15466" y1="8699" x2="15466" y2="8699"/>
                        <a14:foregroundMark x1="16579" y1="8777" x2="16579" y2="8777"/>
                        <a14:foregroundMark x1="17809" y1="8699" x2="17809" y2="8699"/>
                        <a14:foregroundMark x1="19977" y1="8777" x2="19977" y2="8777"/>
                        <a14:foregroundMark x1="21441" y1="8934" x2="21441" y2="8934"/>
                        <a14:foregroundMark x1="22437" y1="8699" x2="22437" y2="8699"/>
                        <a14:foregroundMark x1="23492" y1="8699" x2="23492" y2="8699"/>
                        <a14:foregroundMark x1="24839" y1="8856" x2="24839" y2="8856"/>
                        <a14:foregroundMark x1="26128" y1="8777" x2="26128" y2="8777"/>
                        <a14:foregroundMark x1="26069" y1="7915" x2="26069" y2="7915"/>
                        <a14:foregroundMark x1="26655" y1="9013" x2="26655" y2="9013"/>
                        <a14:foregroundMark x1="27475" y1="8464" x2="27475" y2="8464"/>
                        <a14:foregroundMark x1="28647" y1="8621" x2="28647" y2="8621"/>
                        <a14:foregroundMark x1="29936" y1="8621" x2="29936" y2="8621"/>
                        <a14:foregroundMark x1="31927" y1="8386" x2="31927" y2="8386"/>
                        <a14:foregroundMark x1="32982" y1="8621" x2="32982" y2="8621"/>
                        <a14:foregroundMark x1="34271" y1="8386" x2="34271" y2="8386"/>
                        <a14:foregroundMark x1="35267" y1="8464" x2="35267" y2="8464"/>
                        <a14:foregroundMark x1="36380" y1="8150" x2="36380" y2="8150"/>
                        <a14:foregroundMark x1="37317" y1="8464" x2="37317" y2="8464"/>
                        <a14:foregroundMark x1="38781" y1="8464" x2="38781" y2="8464"/>
                        <a14:foregroundMark x1="36321" y1="9013" x2="36321" y2="9013"/>
                        <a14:foregroundMark x1="39543" y1="8777" x2="39543" y2="8777"/>
                        <a14:foregroundMark x1="41301" y1="8464" x2="41301" y2="8464"/>
                        <a14:foregroundMark x1="42355" y1="8464" x2="42355" y2="8464"/>
                        <a14:foregroundMark x1="43351" y1="8542" x2="43351" y2="8542"/>
                        <a14:foregroundMark x1="45108" y1="8542" x2="45108" y2="8542"/>
                        <a14:foregroundMark x1="45108" y1="7915" x2="45108" y2="7915"/>
                        <a14:foregroundMark x1="45694" y1="8777" x2="45694" y2="8777"/>
                        <a14:foregroundMark x1="46983" y1="8856" x2="46983" y2="8856"/>
                        <a14:backgroundMark x1="16462" y1="9169" x2="16462" y2="916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99" t="2210" r="50000" b="83830"/>
          <a:stretch/>
        </p:blipFill>
        <p:spPr bwMode="auto">
          <a:xfrm>
            <a:off x="274320" y="0"/>
            <a:ext cx="43243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799938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00427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07926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11914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5664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549078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50692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28503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6748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06508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7624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28597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8" descr="E3 PPT Title SF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527" b="14734" l="4511" r="48448">
                        <a14:foregroundMark x1="8084" y1="5251" x2="7440" y2="11912"/>
                        <a14:foregroundMark x1="14353" y1="7837" x2="14353" y2="7837"/>
                        <a14:foregroundMark x1="15466" y1="8699" x2="15466" y2="8699"/>
                        <a14:foregroundMark x1="16579" y1="8777" x2="16579" y2="8777"/>
                        <a14:foregroundMark x1="17809" y1="8699" x2="17809" y2="8699"/>
                        <a14:foregroundMark x1="19977" y1="8777" x2="19977" y2="8777"/>
                        <a14:foregroundMark x1="21441" y1="8934" x2="21441" y2="8934"/>
                        <a14:foregroundMark x1="22437" y1="8699" x2="22437" y2="8699"/>
                        <a14:foregroundMark x1="23492" y1="8699" x2="23492" y2="8699"/>
                        <a14:foregroundMark x1="24839" y1="8856" x2="24839" y2="8856"/>
                        <a14:foregroundMark x1="26128" y1="8777" x2="26128" y2="8777"/>
                        <a14:foregroundMark x1="26069" y1="7915" x2="26069" y2="7915"/>
                        <a14:foregroundMark x1="26655" y1="9013" x2="26655" y2="9013"/>
                        <a14:foregroundMark x1="27475" y1="8464" x2="27475" y2="8464"/>
                        <a14:foregroundMark x1="28647" y1="8621" x2="28647" y2="8621"/>
                        <a14:foregroundMark x1="29936" y1="8621" x2="29936" y2="8621"/>
                        <a14:foregroundMark x1="31927" y1="8386" x2="31927" y2="8386"/>
                        <a14:foregroundMark x1="32982" y1="8621" x2="32982" y2="8621"/>
                        <a14:foregroundMark x1="34271" y1="8386" x2="34271" y2="8386"/>
                        <a14:foregroundMark x1="35267" y1="8464" x2="35267" y2="8464"/>
                        <a14:foregroundMark x1="36380" y1="8150" x2="36380" y2="8150"/>
                        <a14:foregroundMark x1="37317" y1="8464" x2="37317" y2="8464"/>
                        <a14:foregroundMark x1="38781" y1="8464" x2="38781" y2="8464"/>
                        <a14:foregroundMark x1="36321" y1="9013" x2="36321" y2="9013"/>
                        <a14:foregroundMark x1="39543" y1="8777" x2="39543" y2="8777"/>
                        <a14:foregroundMark x1="41301" y1="8464" x2="41301" y2="8464"/>
                        <a14:foregroundMark x1="42355" y1="8464" x2="42355" y2="8464"/>
                        <a14:foregroundMark x1="43351" y1="8542" x2="43351" y2="8542"/>
                        <a14:foregroundMark x1="45108" y1="8542" x2="45108" y2="8542"/>
                        <a14:foregroundMark x1="45108" y1="7915" x2="45108" y2="7915"/>
                        <a14:foregroundMark x1="45694" y1="8777" x2="45694" y2="8777"/>
                        <a14:foregroundMark x1="46983" y1="8856" x2="46983" y2="8856"/>
                        <a14:backgroundMark x1="16462" y1="9169" x2="16462" y2="916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99" t="2210" r="50000" b="83830"/>
          <a:stretch/>
        </p:blipFill>
        <p:spPr bwMode="auto">
          <a:xfrm>
            <a:off x="274320" y="0"/>
            <a:ext cx="43243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645083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42919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08436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213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16009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91039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30124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061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00818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33137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34973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-190106"/>
            <a:ext cx="9525000" cy="71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89577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E8B740-EFEA-4711-830C-458CE141F629}" type="datetime1">
              <a:rPr lang="en-US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5D6609-DC0F-4E37-ABC6-5A6B4BB0A69F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18675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8D97692-DC16-447C-A8B5-F1A2CBE0D34E}" type="datetime1">
              <a:rPr lang="en-US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C2CF07-7429-4804-A8C2-0949D487DAFF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92406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FCD1A4-B0A0-44E9-8CC9-6FEF7CAFDCC7}" type="datetime1">
              <a:rPr lang="en-US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D358BF-C03F-49A9-8DD9-63B89C6ACAD4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2521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1727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C9D3EA-7433-4329-B971-E44085081A3E}" type="datetime1">
              <a:rPr lang="en-US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8ED6168-4A42-406B-AA4E-AF3184462135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13728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42727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234319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11140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282543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66377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803420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86968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663668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7337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46028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-190106"/>
            <a:ext cx="9525000" cy="71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607863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E8B740-EFEA-4711-830C-458CE141F629}" type="datetime1">
              <a:rPr lang="en-US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5D6609-DC0F-4E37-ABC6-5A6B4BB0A69F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  <p:pic>
        <p:nvPicPr>
          <p:cNvPr id="7" name="Picture 6"/>
          <p:cNvPicPr/>
          <p:nvPr userDrawn="1"/>
        </p:nvPicPr>
        <p:blipFill>
          <a:blip r:embed="rId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228600"/>
            <a:ext cx="914400" cy="522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26134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8D97692-DC16-447C-A8B5-F1A2CBE0D34E}" type="datetime1">
              <a:rPr lang="en-US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C2CF07-7429-4804-A8C2-0949D487DAFF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2437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FCD1A4-B0A0-44E9-8CC9-6FEF7CAFDCC7}" type="datetime1">
              <a:rPr lang="en-US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D358BF-C03F-49A9-8DD9-63B89C6ACAD4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0621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C9D3EA-7433-4329-B971-E44085081A3E}" type="datetime1">
              <a:rPr lang="en-US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8ED6168-4A42-406B-AA4E-AF3184462135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16270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9817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38949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72891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82733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1303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8" descr="E3 PPT Title SF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527" b="14734" l="4511" r="48448">
                        <a14:foregroundMark x1="8084" y1="5251" x2="7440" y2="11912"/>
                        <a14:foregroundMark x1="14353" y1="7837" x2="14353" y2="7837"/>
                        <a14:foregroundMark x1="15466" y1="8699" x2="15466" y2="8699"/>
                        <a14:foregroundMark x1="16579" y1="8777" x2="16579" y2="8777"/>
                        <a14:foregroundMark x1="17809" y1="8699" x2="17809" y2="8699"/>
                        <a14:foregroundMark x1="19977" y1="8777" x2="19977" y2="8777"/>
                        <a14:foregroundMark x1="21441" y1="8934" x2="21441" y2="8934"/>
                        <a14:foregroundMark x1="22437" y1="8699" x2="22437" y2="8699"/>
                        <a14:foregroundMark x1="23492" y1="8699" x2="23492" y2="8699"/>
                        <a14:foregroundMark x1="24839" y1="8856" x2="24839" y2="8856"/>
                        <a14:foregroundMark x1="26128" y1="8777" x2="26128" y2="8777"/>
                        <a14:foregroundMark x1="26069" y1="7915" x2="26069" y2="7915"/>
                        <a14:foregroundMark x1="26655" y1="9013" x2="26655" y2="9013"/>
                        <a14:foregroundMark x1="27475" y1="8464" x2="27475" y2="8464"/>
                        <a14:foregroundMark x1="28647" y1="8621" x2="28647" y2="8621"/>
                        <a14:foregroundMark x1="29936" y1="8621" x2="29936" y2="8621"/>
                        <a14:foregroundMark x1="31927" y1="8386" x2="31927" y2="8386"/>
                        <a14:foregroundMark x1="32982" y1="8621" x2="32982" y2="8621"/>
                        <a14:foregroundMark x1="34271" y1="8386" x2="34271" y2="8386"/>
                        <a14:foregroundMark x1="35267" y1="8464" x2="35267" y2="8464"/>
                        <a14:foregroundMark x1="36380" y1="8150" x2="36380" y2="8150"/>
                        <a14:foregroundMark x1="37317" y1="8464" x2="37317" y2="8464"/>
                        <a14:foregroundMark x1="38781" y1="8464" x2="38781" y2="8464"/>
                        <a14:foregroundMark x1="36321" y1="9013" x2="36321" y2="9013"/>
                        <a14:foregroundMark x1="39543" y1="8777" x2="39543" y2="8777"/>
                        <a14:foregroundMark x1="41301" y1="8464" x2="41301" y2="8464"/>
                        <a14:foregroundMark x1="42355" y1="8464" x2="42355" y2="8464"/>
                        <a14:foregroundMark x1="43351" y1="8542" x2="43351" y2="8542"/>
                        <a14:foregroundMark x1="45108" y1="8542" x2="45108" y2="8542"/>
                        <a14:foregroundMark x1="45108" y1="7915" x2="45108" y2="7915"/>
                        <a14:foregroundMark x1="45694" y1="8777" x2="45694" y2="8777"/>
                        <a14:foregroundMark x1="46983" y1="8856" x2="46983" y2="8856"/>
                        <a14:backgroundMark x1="16462" y1="9169" x2="16462" y2="916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99" t="2210" r="50000" b="83830"/>
          <a:stretch/>
        </p:blipFill>
        <p:spPr bwMode="auto">
          <a:xfrm>
            <a:off x="274320" y="0"/>
            <a:ext cx="43243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664110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739519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1404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13346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-9144" y="6053328"/>
            <a:ext cx="224942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6044184"/>
            <a:ext cx="6784848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/>
              <a:t>Click to edit Master subtitle style</a:t>
            </a: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6068699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reeform 6"/>
          <p:cNvSpPr>
            <a:spLocks noEditPoints="1"/>
          </p:cNvSpPr>
          <p:nvPr userDrawn="1"/>
        </p:nvSpPr>
        <p:spPr bwMode="auto">
          <a:xfrm>
            <a:off x="8001000" y="6096000"/>
            <a:ext cx="1078649" cy="595313"/>
          </a:xfrm>
          <a:custGeom>
            <a:avLst/>
            <a:gdLst>
              <a:gd name="T0" fmla="*/ 693 w 1044"/>
              <a:gd name="T1" fmla="*/ 280 h 576"/>
              <a:gd name="T2" fmla="*/ 693 w 1044"/>
              <a:gd name="T3" fmla="*/ 280 h 576"/>
              <a:gd name="T4" fmla="*/ 413 w 1044"/>
              <a:gd name="T5" fmla="*/ 561 h 576"/>
              <a:gd name="T6" fmla="*/ 347 w 1044"/>
              <a:gd name="T7" fmla="*/ 561 h 576"/>
              <a:gd name="T8" fmla="*/ 347 w 1044"/>
              <a:gd name="T9" fmla="*/ 455 h 576"/>
              <a:gd name="T10" fmla="*/ 413 w 1044"/>
              <a:gd name="T11" fmla="*/ 455 h 576"/>
              <a:gd name="T12" fmla="*/ 588 w 1044"/>
              <a:gd name="T13" fmla="*/ 280 h 576"/>
              <a:gd name="T14" fmla="*/ 413 w 1044"/>
              <a:gd name="T15" fmla="*/ 105 h 576"/>
              <a:gd name="T16" fmla="*/ 347 w 1044"/>
              <a:gd name="T17" fmla="*/ 105 h 576"/>
              <a:gd name="T18" fmla="*/ 347 w 1044"/>
              <a:gd name="T19" fmla="*/ 0 h 576"/>
              <a:gd name="T20" fmla="*/ 413 w 1044"/>
              <a:gd name="T21" fmla="*/ 0 h 576"/>
              <a:gd name="T22" fmla="*/ 693 w 1044"/>
              <a:gd name="T23" fmla="*/ 280 h 576"/>
              <a:gd name="T24" fmla="*/ 693 w 1044"/>
              <a:gd name="T25" fmla="*/ 280 h 576"/>
              <a:gd name="T26" fmla="*/ 693 w 1044"/>
              <a:gd name="T27" fmla="*/ 280 h 576"/>
              <a:gd name="T28" fmla="*/ 693 w 1044"/>
              <a:gd name="T29" fmla="*/ 280 h 576"/>
              <a:gd name="T30" fmla="*/ 693 w 1044"/>
              <a:gd name="T31" fmla="*/ 101 h 576"/>
              <a:gd name="T32" fmla="*/ 820 w 1044"/>
              <a:gd name="T33" fmla="*/ 101 h 576"/>
              <a:gd name="T34" fmla="*/ 902 w 1044"/>
              <a:gd name="T35" fmla="*/ 127 h 576"/>
              <a:gd name="T36" fmla="*/ 928 w 1044"/>
              <a:gd name="T37" fmla="*/ 191 h 576"/>
              <a:gd name="T38" fmla="*/ 825 w 1044"/>
              <a:gd name="T39" fmla="*/ 281 h 576"/>
              <a:gd name="T40" fmla="*/ 793 w 1044"/>
              <a:gd name="T41" fmla="*/ 281 h 576"/>
              <a:gd name="T42" fmla="*/ 756 w 1044"/>
              <a:gd name="T43" fmla="*/ 361 h 576"/>
              <a:gd name="T44" fmla="*/ 963 w 1044"/>
              <a:gd name="T45" fmla="*/ 576 h 576"/>
              <a:gd name="T46" fmla="*/ 1044 w 1044"/>
              <a:gd name="T47" fmla="*/ 508 h 576"/>
              <a:gd name="T48" fmla="*/ 897 w 1044"/>
              <a:gd name="T49" fmla="*/ 360 h 576"/>
              <a:gd name="T50" fmla="*/ 1033 w 1044"/>
              <a:gd name="T51" fmla="*/ 193 h 576"/>
              <a:gd name="T52" fmla="*/ 975 w 1044"/>
              <a:gd name="T53" fmla="*/ 50 h 576"/>
              <a:gd name="T54" fmla="*/ 812 w 1044"/>
              <a:gd name="T55" fmla="*/ 0 h 576"/>
              <a:gd name="T56" fmla="*/ 693 w 1044"/>
              <a:gd name="T57" fmla="*/ 0 h 576"/>
              <a:gd name="T58" fmla="*/ 693 w 1044"/>
              <a:gd name="T59" fmla="*/ 101 h 576"/>
              <a:gd name="T60" fmla="*/ 350 w 1044"/>
              <a:gd name="T61" fmla="*/ 224 h 576"/>
              <a:gd name="T62" fmla="*/ 114 w 1044"/>
              <a:gd name="T63" fmla="*/ 224 h 576"/>
              <a:gd name="T64" fmla="*/ 114 w 1044"/>
              <a:gd name="T65" fmla="*/ 0 h 576"/>
              <a:gd name="T66" fmla="*/ 0 w 1044"/>
              <a:gd name="T67" fmla="*/ 0 h 576"/>
              <a:gd name="T68" fmla="*/ 0 w 1044"/>
              <a:gd name="T69" fmla="*/ 561 h 576"/>
              <a:gd name="T70" fmla="*/ 114 w 1044"/>
              <a:gd name="T71" fmla="*/ 561 h 576"/>
              <a:gd name="T72" fmla="*/ 114 w 1044"/>
              <a:gd name="T73" fmla="*/ 336 h 576"/>
              <a:gd name="T74" fmla="*/ 350 w 1044"/>
              <a:gd name="T75" fmla="*/ 336 h 576"/>
              <a:gd name="T76" fmla="*/ 350 w 1044"/>
              <a:gd name="T77" fmla="*/ 224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044" h="576">
                <a:moveTo>
                  <a:pt x="693" y="280"/>
                </a:moveTo>
                <a:cubicBezTo>
                  <a:pt x="693" y="280"/>
                  <a:pt x="693" y="280"/>
                  <a:pt x="693" y="280"/>
                </a:cubicBezTo>
                <a:cubicBezTo>
                  <a:pt x="693" y="442"/>
                  <a:pt x="575" y="561"/>
                  <a:pt x="413" y="561"/>
                </a:cubicBezTo>
                <a:cubicBezTo>
                  <a:pt x="347" y="561"/>
                  <a:pt x="347" y="561"/>
                  <a:pt x="347" y="561"/>
                </a:cubicBezTo>
                <a:cubicBezTo>
                  <a:pt x="347" y="455"/>
                  <a:pt x="347" y="455"/>
                  <a:pt x="347" y="455"/>
                </a:cubicBezTo>
                <a:cubicBezTo>
                  <a:pt x="413" y="455"/>
                  <a:pt x="413" y="455"/>
                  <a:pt x="413" y="455"/>
                </a:cubicBezTo>
                <a:cubicBezTo>
                  <a:pt x="516" y="455"/>
                  <a:pt x="588" y="383"/>
                  <a:pt x="588" y="280"/>
                </a:cubicBezTo>
                <a:cubicBezTo>
                  <a:pt x="588" y="177"/>
                  <a:pt x="516" y="105"/>
                  <a:pt x="413" y="105"/>
                </a:cubicBezTo>
                <a:cubicBezTo>
                  <a:pt x="347" y="105"/>
                  <a:pt x="347" y="105"/>
                  <a:pt x="347" y="105"/>
                </a:cubicBezTo>
                <a:cubicBezTo>
                  <a:pt x="347" y="0"/>
                  <a:pt x="347" y="0"/>
                  <a:pt x="347" y="0"/>
                </a:cubicBezTo>
                <a:cubicBezTo>
                  <a:pt x="413" y="0"/>
                  <a:pt x="413" y="0"/>
                  <a:pt x="413" y="0"/>
                </a:cubicBezTo>
                <a:cubicBezTo>
                  <a:pt x="575" y="0"/>
                  <a:pt x="693" y="118"/>
                  <a:pt x="693" y="280"/>
                </a:cubicBezTo>
                <a:cubicBezTo>
                  <a:pt x="693" y="280"/>
                  <a:pt x="693" y="280"/>
                  <a:pt x="693" y="280"/>
                </a:cubicBezTo>
                <a:cubicBezTo>
                  <a:pt x="693" y="280"/>
                  <a:pt x="693" y="280"/>
                  <a:pt x="693" y="280"/>
                </a:cubicBezTo>
                <a:cubicBezTo>
                  <a:pt x="693" y="280"/>
                  <a:pt x="693" y="280"/>
                  <a:pt x="693" y="280"/>
                </a:cubicBezTo>
                <a:close/>
                <a:moveTo>
                  <a:pt x="693" y="101"/>
                </a:moveTo>
                <a:cubicBezTo>
                  <a:pt x="820" y="101"/>
                  <a:pt x="820" y="101"/>
                  <a:pt x="820" y="101"/>
                </a:cubicBezTo>
                <a:cubicBezTo>
                  <a:pt x="858" y="101"/>
                  <a:pt x="884" y="109"/>
                  <a:pt x="902" y="127"/>
                </a:cubicBezTo>
                <a:cubicBezTo>
                  <a:pt x="919" y="144"/>
                  <a:pt x="928" y="166"/>
                  <a:pt x="928" y="191"/>
                </a:cubicBezTo>
                <a:cubicBezTo>
                  <a:pt x="928" y="247"/>
                  <a:pt x="879" y="281"/>
                  <a:pt x="825" y="281"/>
                </a:cubicBezTo>
                <a:cubicBezTo>
                  <a:pt x="793" y="281"/>
                  <a:pt x="793" y="281"/>
                  <a:pt x="793" y="281"/>
                </a:cubicBezTo>
                <a:cubicBezTo>
                  <a:pt x="756" y="361"/>
                  <a:pt x="756" y="361"/>
                  <a:pt x="756" y="361"/>
                </a:cubicBezTo>
                <a:cubicBezTo>
                  <a:pt x="963" y="576"/>
                  <a:pt x="963" y="576"/>
                  <a:pt x="963" y="576"/>
                </a:cubicBezTo>
                <a:cubicBezTo>
                  <a:pt x="1044" y="508"/>
                  <a:pt x="1044" y="508"/>
                  <a:pt x="1044" y="508"/>
                </a:cubicBezTo>
                <a:cubicBezTo>
                  <a:pt x="897" y="360"/>
                  <a:pt x="897" y="360"/>
                  <a:pt x="897" y="360"/>
                </a:cubicBezTo>
                <a:cubicBezTo>
                  <a:pt x="978" y="345"/>
                  <a:pt x="1033" y="271"/>
                  <a:pt x="1033" y="193"/>
                </a:cubicBezTo>
                <a:cubicBezTo>
                  <a:pt x="1033" y="135"/>
                  <a:pt x="1017" y="90"/>
                  <a:pt x="975" y="50"/>
                </a:cubicBezTo>
                <a:cubicBezTo>
                  <a:pt x="932" y="10"/>
                  <a:pt x="884" y="0"/>
                  <a:pt x="812" y="0"/>
                </a:cubicBezTo>
                <a:cubicBezTo>
                  <a:pt x="693" y="0"/>
                  <a:pt x="693" y="0"/>
                  <a:pt x="693" y="0"/>
                </a:cubicBezTo>
                <a:lnTo>
                  <a:pt x="693" y="101"/>
                </a:lnTo>
                <a:close/>
                <a:moveTo>
                  <a:pt x="350" y="224"/>
                </a:moveTo>
                <a:cubicBezTo>
                  <a:pt x="114" y="224"/>
                  <a:pt x="114" y="224"/>
                  <a:pt x="114" y="224"/>
                </a:cubicBezTo>
                <a:cubicBezTo>
                  <a:pt x="114" y="0"/>
                  <a:pt x="114" y="0"/>
                  <a:pt x="1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61"/>
                  <a:pt x="0" y="561"/>
                  <a:pt x="0" y="561"/>
                </a:cubicBezTo>
                <a:cubicBezTo>
                  <a:pt x="114" y="561"/>
                  <a:pt x="114" y="561"/>
                  <a:pt x="114" y="561"/>
                </a:cubicBezTo>
                <a:cubicBezTo>
                  <a:pt x="114" y="336"/>
                  <a:pt x="114" y="336"/>
                  <a:pt x="114" y="336"/>
                </a:cubicBezTo>
                <a:cubicBezTo>
                  <a:pt x="350" y="336"/>
                  <a:pt x="350" y="336"/>
                  <a:pt x="350" y="336"/>
                </a:cubicBezTo>
                <a:lnTo>
                  <a:pt x="350" y="2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410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9" name="Freeform 6"/>
          <p:cNvSpPr>
            <a:spLocks noChangeAspect="1" noEditPoints="1"/>
          </p:cNvSpPr>
          <p:nvPr userDrawn="1"/>
        </p:nvSpPr>
        <p:spPr bwMode="auto">
          <a:xfrm>
            <a:off x="8153400" y="6143341"/>
            <a:ext cx="880692" cy="486059"/>
          </a:xfrm>
          <a:custGeom>
            <a:avLst/>
            <a:gdLst>
              <a:gd name="T0" fmla="*/ 693 w 1044"/>
              <a:gd name="T1" fmla="*/ 280 h 576"/>
              <a:gd name="T2" fmla="*/ 693 w 1044"/>
              <a:gd name="T3" fmla="*/ 280 h 576"/>
              <a:gd name="T4" fmla="*/ 413 w 1044"/>
              <a:gd name="T5" fmla="*/ 561 h 576"/>
              <a:gd name="T6" fmla="*/ 347 w 1044"/>
              <a:gd name="T7" fmla="*/ 561 h 576"/>
              <a:gd name="T8" fmla="*/ 347 w 1044"/>
              <a:gd name="T9" fmla="*/ 455 h 576"/>
              <a:gd name="T10" fmla="*/ 413 w 1044"/>
              <a:gd name="T11" fmla="*/ 455 h 576"/>
              <a:gd name="T12" fmla="*/ 588 w 1044"/>
              <a:gd name="T13" fmla="*/ 280 h 576"/>
              <a:gd name="T14" fmla="*/ 413 w 1044"/>
              <a:gd name="T15" fmla="*/ 105 h 576"/>
              <a:gd name="T16" fmla="*/ 347 w 1044"/>
              <a:gd name="T17" fmla="*/ 105 h 576"/>
              <a:gd name="T18" fmla="*/ 347 w 1044"/>
              <a:gd name="T19" fmla="*/ 0 h 576"/>
              <a:gd name="T20" fmla="*/ 413 w 1044"/>
              <a:gd name="T21" fmla="*/ 0 h 576"/>
              <a:gd name="T22" fmla="*/ 693 w 1044"/>
              <a:gd name="T23" fmla="*/ 280 h 576"/>
              <a:gd name="T24" fmla="*/ 693 w 1044"/>
              <a:gd name="T25" fmla="*/ 280 h 576"/>
              <a:gd name="T26" fmla="*/ 693 w 1044"/>
              <a:gd name="T27" fmla="*/ 280 h 576"/>
              <a:gd name="T28" fmla="*/ 693 w 1044"/>
              <a:gd name="T29" fmla="*/ 280 h 576"/>
              <a:gd name="T30" fmla="*/ 693 w 1044"/>
              <a:gd name="T31" fmla="*/ 101 h 576"/>
              <a:gd name="T32" fmla="*/ 820 w 1044"/>
              <a:gd name="T33" fmla="*/ 101 h 576"/>
              <a:gd name="T34" fmla="*/ 902 w 1044"/>
              <a:gd name="T35" fmla="*/ 127 h 576"/>
              <a:gd name="T36" fmla="*/ 928 w 1044"/>
              <a:gd name="T37" fmla="*/ 191 h 576"/>
              <a:gd name="T38" fmla="*/ 825 w 1044"/>
              <a:gd name="T39" fmla="*/ 281 h 576"/>
              <a:gd name="T40" fmla="*/ 793 w 1044"/>
              <a:gd name="T41" fmla="*/ 281 h 576"/>
              <a:gd name="T42" fmla="*/ 756 w 1044"/>
              <a:gd name="T43" fmla="*/ 361 h 576"/>
              <a:gd name="T44" fmla="*/ 963 w 1044"/>
              <a:gd name="T45" fmla="*/ 576 h 576"/>
              <a:gd name="T46" fmla="*/ 1044 w 1044"/>
              <a:gd name="T47" fmla="*/ 508 h 576"/>
              <a:gd name="T48" fmla="*/ 897 w 1044"/>
              <a:gd name="T49" fmla="*/ 360 h 576"/>
              <a:gd name="T50" fmla="*/ 1033 w 1044"/>
              <a:gd name="T51" fmla="*/ 193 h 576"/>
              <a:gd name="T52" fmla="*/ 975 w 1044"/>
              <a:gd name="T53" fmla="*/ 50 h 576"/>
              <a:gd name="T54" fmla="*/ 812 w 1044"/>
              <a:gd name="T55" fmla="*/ 0 h 576"/>
              <a:gd name="T56" fmla="*/ 693 w 1044"/>
              <a:gd name="T57" fmla="*/ 0 h 576"/>
              <a:gd name="T58" fmla="*/ 693 w 1044"/>
              <a:gd name="T59" fmla="*/ 101 h 576"/>
              <a:gd name="T60" fmla="*/ 350 w 1044"/>
              <a:gd name="T61" fmla="*/ 224 h 576"/>
              <a:gd name="T62" fmla="*/ 114 w 1044"/>
              <a:gd name="T63" fmla="*/ 224 h 576"/>
              <a:gd name="T64" fmla="*/ 114 w 1044"/>
              <a:gd name="T65" fmla="*/ 0 h 576"/>
              <a:gd name="T66" fmla="*/ 0 w 1044"/>
              <a:gd name="T67" fmla="*/ 0 h 576"/>
              <a:gd name="T68" fmla="*/ 0 w 1044"/>
              <a:gd name="T69" fmla="*/ 561 h 576"/>
              <a:gd name="T70" fmla="*/ 114 w 1044"/>
              <a:gd name="T71" fmla="*/ 561 h 576"/>
              <a:gd name="T72" fmla="*/ 114 w 1044"/>
              <a:gd name="T73" fmla="*/ 336 h 576"/>
              <a:gd name="T74" fmla="*/ 350 w 1044"/>
              <a:gd name="T75" fmla="*/ 336 h 576"/>
              <a:gd name="T76" fmla="*/ 350 w 1044"/>
              <a:gd name="T77" fmla="*/ 224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044" h="576">
                <a:moveTo>
                  <a:pt x="693" y="280"/>
                </a:moveTo>
                <a:cubicBezTo>
                  <a:pt x="693" y="280"/>
                  <a:pt x="693" y="280"/>
                  <a:pt x="693" y="280"/>
                </a:cubicBezTo>
                <a:cubicBezTo>
                  <a:pt x="693" y="442"/>
                  <a:pt x="575" y="561"/>
                  <a:pt x="413" y="561"/>
                </a:cubicBezTo>
                <a:cubicBezTo>
                  <a:pt x="347" y="561"/>
                  <a:pt x="347" y="561"/>
                  <a:pt x="347" y="561"/>
                </a:cubicBezTo>
                <a:cubicBezTo>
                  <a:pt x="347" y="455"/>
                  <a:pt x="347" y="455"/>
                  <a:pt x="347" y="455"/>
                </a:cubicBezTo>
                <a:cubicBezTo>
                  <a:pt x="413" y="455"/>
                  <a:pt x="413" y="455"/>
                  <a:pt x="413" y="455"/>
                </a:cubicBezTo>
                <a:cubicBezTo>
                  <a:pt x="516" y="455"/>
                  <a:pt x="588" y="383"/>
                  <a:pt x="588" y="280"/>
                </a:cubicBezTo>
                <a:cubicBezTo>
                  <a:pt x="588" y="177"/>
                  <a:pt x="516" y="105"/>
                  <a:pt x="413" y="105"/>
                </a:cubicBezTo>
                <a:cubicBezTo>
                  <a:pt x="347" y="105"/>
                  <a:pt x="347" y="105"/>
                  <a:pt x="347" y="105"/>
                </a:cubicBezTo>
                <a:cubicBezTo>
                  <a:pt x="347" y="0"/>
                  <a:pt x="347" y="0"/>
                  <a:pt x="347" y="0"/>
                </a:cubicBezTo>
                <a:cubicBezTo>
                  <a:pt x="413" y="0"/>
                  <a:pt x="413" y="0"/>
                  <a:pt x="413" y="0"/>
                </a:cubicBezTo>
                <a:cubicBezTo>
                  <a:pt x="575" y="0"/>
                  <a:pt x="693" y="118"/>
                  <a:pt x="693" y="280"/>
                </a:cubicBezTo>
                <a:cubicBezTo>
                  <a:pt x="693" y="280"/>
                  <a:pt x="693" y="280"/>
                  <a:pt x="693" y="280"/>
                </a:cubicBezTo>
                <a:cubicBezTo>
                  <a:pt x="693" y="280"/>
                  <a:pt x="693" y="280"/>
                  <a:pt x="693" y="280"/>
                </a:cubicBezTo>
                <a:cubicBezTo>
                  <a:pt x="693" y="280"/>
                  <a:pt x="693" y="280"/>
                  <a:pt x="693" y="280"/>
                </a:cubicBezTo>
                <a:close/>
                <a:moveTo>
                  <a:pt x="693" y="101"/>
                </a:moveTo>
                <a:cubicBezTo>
                  <a:pt x="820" y="101"/>
                  <a:pt x="820" y="101"/>
                  <a:pt x="820" y="101"/>
                </a:cubicBezTo>
                <a:cubicBezTo>
                  <a:pt x="858" y="101"/>
                  <a:pt x="884" y="109"/>
                  <a:pt x="902" y="127"/>
                </a:cubicBezTo>
                <a:cubicBezTo>
                  <a:pt x="919" y="144"/>
                  <a:pt x="928" y="166"/>
                  <a:pt x="928" y="191"/>
                </a:cubicBezTo>
                <a:cubicBezTo>
                  <a:pt x="928" y="247"/>
                  <a:pt x="879" y="281"/>
                  <a:pt x="825" y="281"/>
                </a:cubicBezTo>
                <a:cubicBezTo>
                  <a:pt x="793" y="281"/>
                  <a:pt x="793" y="281"/>
                  <a:pt x="793" y="281"/>
                </a:cubicBezTo>
                <a:cubicBezTo>
                  <a:pt x="756" y="361"/>
                  <a:pt x="756" y="361"/>
                  <a:pt x="756" y="361"/>
                </a:cubicBezTo>
                <a:cubicBezTo>
                  <a:pt x="963" y="576"/>
                  <a:pt x="963" y="576"/>
                  <a:pt x="963" y="576"/>
                </a:cubicBezTo>
                <a:cubicBezTo>
                  <a:pt x="1044" y="508"/>
                  <a:pt x="1044" y="508"/>
                  <a:pt x="1044" y="508"/>
                </a:cubicBezTo>
                <a:cubicBezTo>
                  <a:pt x="897" y="360"/>
                  <a:pt x="897" y="360"/>
                  <a:pt x="897" y="360"/>
                </a:cubicBezTo>
                <a:cubicBezTo>
                  <a:pt x="978" y="345"/>
                  <a:pt x="1033" y="271"/>
                  <a:pt x="1033" y="193"/>
                </a:cubicBezTo>
                <a:cubicBezTo>
                  <a:pt x="1033" y="135"/>
                  <a:pt x="1017" y="90"/>
                  <a:pt x="975" y="50"/>
                </a:cubicBezTo>
                <a:cubicBezTo>
                  <a:pt x="932" y="10"/>
                  <a:pt x="884" y="0"/>
                  <a:pt x="812" y="0"/>
                </a:cubicBezTo>
                <a:cubicBezTo>
                  <a:pt x="693" y="0"/>
                  <a:pt x="693" y="0"/>
                  <a:pt x="693" y="0"/>
                </a:cubicBezTo>
                <a:lnTo>
                  <a:pt x="693" y="101"/>
                </a:lnTo>
                <a:close/>
                <a:moveTo>
                  <a:pt x="350" y="224"/>
                </a:moveTo>
                <a:cubicBezTo>
                  <a:pt x="114" y="224"/>
                  <a:pt x="114" y="224"/>
                  <a:pt x="114" y="224"/>
                </a:cubicBezTo>
                <a:cubicBezTo>
                  <a:pt x="114" y="0"/>
                  <a:pt x="114" y="0"/>
                  <a:pt x="1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61"/>
                  <a:pt x="0" y="561"/>
                  <a:pt x="0" y="561"/>
                </a:cubicBezTo>
                <a:cubicBezTo>
                  <a:pt x="114" y="561"/>
                  <a:pt x="114" y="561"/>
                  <a:pt x="114" y="561"/>
                </a:cubicBezTo>
                <a:cubicBezTo>
                  <a:pt x="114" y="336"/>
                  <a:pt x="114" y="336"/>
                  <a:pt x="114" y="336"/>
                </a:cubicBezTo>
                <a:cubicBezTo>
                  <a:pt x="350" y="336"/>
                  <a:pt x="350" y="336"/>
                  <a:pt x="350" y="336"/>
                </a:cubicBezTo>
                <a:lnTo>
                  <a:pt x="350" y="224"/>
                </a:lnTo>
                <a:close/>
              </a:path>
            </a:pathLst>
          </a:custGeom>
          <a:solidFill>
            <a:srgbClr val="6C6F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5046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reeform 6"/>
          <p:cNvSpPr>
            <a:spLocks noChangeAspect="1" noEditPoints="1"/>
          </p:cNvSpPr>
          <p:nvPr userDrawn="1"/>
        </p:nvSpPr>
        <p:spPr bwMode="auto">
          <a:xfrm>
            <a:off x="8153400" y="6143341"/>
            <a:ext cx="880692" cy="486059"/>
          </a:xfrm>
          <a:custGeom>
            <a:avLst/>
            <a:gdLst>
              <a:gd name="T0" fmla="*/ 693 w 1044"/>
              <a:gd name="T1" fmla="*/ 280 h 576"/>
              <a:gd name="T2" fmla="*/ 693 w 1044"/>
              <a:gd name="T3" fmla="*/ 280 h 576"/>
              <a:gd name="T4" fmla="*/ 413 w 1044"/>
              <a:gd name="T5" fmla="*/ 561 h 576"/>
              <a:gd name="T6" fmla="*/ 347 w 1044"/>
              <a:gd name="T7" fmla="*/ 561 h 576"/>
              <a:gd name="T8" fmla="*/ 347 w 1044"/>
              <a:gd name="T9" fmla="*/ 455 h 576"/>
              <a:gd name="T10" fmla="*/ 413 w 1044"/>
              <a:gd name="T11" fmla="*/ 455 h 576"/>
              <a:gd name="T12" fmla="*/ 588 w 1044"/>
              <a:gd name="T13" fmla="*/ 280 h 576"/>
              <a:gd name="T14" fmla="*/ 413 w 1044"/>
              <a:gd name="T15" fmla="*/ 105 h 576"/>
              <a:gd name="T16" fmla="*/ 347 w 1044"/>
              <a:gd name="T17" fmla="*/ 105 h 576"/>
              <a:gd name="T18" fmla="*/ 347 w 1044"/>
              <a:gd name="T19" fmla="*/ 0 h 576"/>
              <a:gd name="T20" fmla="*/ 413 w 1044"/>
              <a:gd name="T21" fmla="*/ 0 h 576"/>
              <a:gd name="T22" fmla="*/ 693 w 1044"/>
              <a:gd name="T23" fmla="*/ 280 h 576"/>
              <a:gd name="T24" fmla="*/ 693 w 1044"/>
              <a:gd name="T25" fmla="*/ 280 h 576"/>
              <a:gd name="T26" fmla="*/ 693 w 1044"/>
              <a:gd name="T27" fmla="*/ 280 h 576"/>
              <a:gd name="T28" fmla="*/ 693 w 1044"/>
              <a:gd name="T29" fmla="*/ 280 h 576"/>
              <a:gd name="T30" fmla="*/ 693 w 1044"/>
              <a:gd name="T31" fmla="*/ 101 h 576"/>
              <a:gd name="T32" fmla="*/ 820 w 1044"/>
              <a:gd name="T33" fmla="*/ 101 h 576"/>
              <a:gd name="T34" fmla="*/ 902 w 1044"/>
              <a:gd name="T35" fmla="*/ 127 h 576"/>
              <a:gd name="T36" fmla="*/ 928 w 1044"/>
              <a:gd name="T37" fmla="*/ 191 h 576"/>
              <a:gd name="T38" fmla="*/ 825 w 1044"/>
              <a:gd name="T39" fmla="*/ 281 h 576"/>
              <a:gd name="T40" fmla="*/ 793 w 1044"/>
              <a:gd name="T41" fmla="*/ 281 h 576"/>
              <a:gd name="T42" fmla="*/ 756 w 1044"/>
              <a:gd name="T43" fmla="*/ 361 h 576"/>
              <a:gd name="T44" fmla="*/ 963 w 1044"/>
              <a:gd name="T45" fmla="*/ 576 h 576"/>
              <a:gd name="T46" fmla="*/ 1044 w 1044"/>
              <a:gd name="T47" fmla="*/ 508 h 576"/>
              <a:gd name="T48" fmla="*/ 897 w 1044"/>
              <a:gd name="T49" fmla="*/ 360 h 576"/>
              <a:gd name="T50" fmla="*/ 1033 w 1044"/>
              <a:gd name="T51" fmla="*/ 193 h 576"/>
              <a:gd name="T52" fmla="*/ 975 w 1044"/>
              <a:gd name="T53" fmla="*/ 50 h 576"/>
              <a:gd name="T54" fmla="*/ 812 w 1044"/>
              <a:gd name="T55" fmla="*/ 0 h 576"/>
              <a:gd name="T56" fmla="*/ 693 w 1044"/>
              <a:gd name="T57" fmla="*/ 0 h 576"/>
              <a:gd name="T58" fmla="*/ 693 w 1044"/>
              <a:gd name="T59" fmla="*/ 101 h 576"/>
              <a:gd name="T60" fmla="*/ 350 w 1044"/>
              <a:gd name="T61" fmla="*/ 224 h 576"/>
              <a:gd name="T62" fmla="*/ 114 w 1044"/>
              <a:gd name="T63" fmla="*/ 224 h 576"/>
              <a:gd name="T64" fmla="*/ 114 w 1044"/>
              <a:gd name="T65" fmla="*/ 0 h 576"/>
              <a:gd name="T66" fmla="*/ 0 w 1044"/>
              <a:gd name="T67" fmla="*/ 0 h 576"/>
              <a:gd name="T68" fmla="*/ 0 w 1044"/>
              <a:gd name="T69" fmla="*/ 561 h 576"/>
              <a:gd name="T70" fmla="*/ 114 w 1044"/>
              <a:gd name="T71" fmla="*/ 561 h 576"/>
              <a:gd name="T72" fmla="*/ 114 w 1044"/>
              <a:gd name="T73" fmla="*/ 336 h 576"/>
              <a:gd name="T74" fmla="*/ 350 w 1044"/>
              <a:gd name="T75" fmla="*/ 336 h 576"/>
              <a:gd name="T76" fmla="*/ 350 w 1044"/>
              <a:gd name="T77" fmla="*/ 224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044" h="576">
                <a:moveTo>
                  <a:pt x="693" y="280"/>
                </a:moveTo>
                <a:cubicBezTo>
                  <a:pt x="693" y="280"/>
                  <a:pt x="693" y="280"/>
                  <a:pt x="693" y="280"/>
                </a:cubicBezTo>
                <a:cubicBezTo>
                  <a:pt x="693" y="442"/>
                  <a:pt x="575" y="561"/>
                  <a:pt x="413" y="561"/>
                </a:cubicBezTo>
                <a:cubicBezTo>
                  <a:pt x="347" y="561"/>
                  <a:pt x="347" y="561"/>
                  <a:pt x="347" y="561"/>
                </a:cubicBezTo>
                <a:cubicBezTo>
                  <a:pt x="347" y="455"/>
                  <a:pt x="347" y="455"/>
                  <a:pt x="347" y="455"/>
                </a:cubicBezTo>
                <a:cubicBezTo>
                  <a:pt x="413" y="455"/>
                  <a:pt x="413" y="455"/>
                  <a:pt x="413" y="455"/>
                </a:cubicBezTo>
                <a:cubicBezTo>
                  <a:pt x="516" y="455"/>
                  <a:pt x="588" y="383"/>
                  <a:pt x="588" y="280"/>
                </a:cubicBezTo>
                <a:cubicBezTo>
                  <a:pt x="588" y="177"/>
                  <a:pt x="516" y="105"/>
                  <a:pt x="413" y="105"/>
                </a:cubicBezTo>
                <a:cubicBezTo>
                  <a:pt x="347" y="105"/>
                  <a:pt x="347" y="105"/>
                  <a:pt x="347" y="105"/>
                </a:cubicBezTo>
                <a:cubicBezTo>
                  <a:pt x="347" y="0"/>
                  <a:pt x="347" y="0"/>
                  <a:pt x="347" y="0"/>
                </a:cubicBezTo>
                <a:cubicBezTo>
                  <a:pt x="413" y="0"/>
                  <a:pt x="413" y="0"/>
                  <a:pt x="413" y="0"/>
                </a:cubicBezTo>
                <a:cubicBezTo>
                  <a:pt x="575" y="0"/>
                  <a:pt x="693" y="118"/>
                  <a:pt x="693" y="280"/>
                </a:cubicBezTo>
                <a:cubicBezTo>
                  <a:pt x="693" y="280"/>
                  <a:pt x="693" y="280"/>
                  <a:pt x="693" y="280"/>
                </a:cubicBezTo>
                <a:cubicBezTo>
                  <a:pt x="693" y="280"/>
                  <a:pt x="693" y="280"/>
                  <a:pt x="693" y="280"/>
                </a:cubicBezTo>
                <a:cubicBezTo>
                  <a:pt x="693" y="280"/>
                  <a:pt x="693" y="280"/>
                  <a:pt x="693" y="280"/>
                </a:cubicBezTo>
                <a:close/>
                <a:moveTo>
                  <a:pt x="693" y="101"/>
                </a:moveTo>
                <a:cubicBezTo>
                  <a:pt x="820" y="101"/>
                  <a:pt x="820" y="101"/>
                  <a:pt x="820" y="101"/>
                </a:cubicBezTo>
                <a:cubicBezTo>
                  <a:pt x="858" y="101"/>
                  <a:pt x="884" y="109"/>
                  <a:pt x="902" y="127"/>
                </a:cubicBezTo>
                <a:cubicBezTo>
                  <a:pt x="919" y="144"/>
                  <a:pt x="928" y="166"/>
                  <a:pt x="928" y="191"/>
                </a:cubicBezTo>
                <a:cubicBezTo>
                  <a:pt x="928" y="247"/>
                  <a:pt x="879" y="281"/>
                  <a:pt x="825" y="281"/>
                </a:cubicBezTo>
                <a:cubicBezTo>
                  <a:pt x="793" y="281"/>
                  <a:pt x="793" y="281"/>
                  <a:pt x="793" y="281"/>
                </a:cubicBezTo>
                <a:cubicBezTo>
                  <a:pt x="756" y="361"/>
                  <a:pt x="756" y="361"/>
                  <a:pt x="756" y="361"/>
                </a:cubicBezTo>
                <a:cubicBezTo>
                  <a:pt x="963" y="576"/>
                  <a:pt x="963" y="576"/>
                  <a:pt x="963" y="576"/>
                </a:cubicBezTo>
                <a:cubicBezTo>
                  <a:pt x="1044" y="508"/>
                  <a:pt x="1044" y="508"/>
                  <a:pt x="1044" y="508"/>
                </a:cubicBezTo>
                <a:cubicBezTo>
                  <a:pt x="897" y="360"/>
                  <a:pt x="897" y="360"/>
                  <a:pt x="897" y="360"/>
                </a:cubicBezTo>
                <a:cubicBezTo>
                  <a:pt x="978" y="345"/>
                  <a:pt x="1033" y="271"/>
                  <a:pt x="1033" y="193"/>
                </a:cubicBezTo>
                <a:cubicBezTo>
                  <a:pt x="1033" y="135"/>
                  <a:pt x="1017" y="90"/>
                  <a:pt x="975" y="50"/>
                </a:cubicBezTo>
                <a:cubicBezTo>
                  <a:pt x="932" y="10"/>
                  <a:pt x="884" y="0"/>
                  <a:pt x="812" y="0"/>
                </a:cubicBezTo>
                <a:cubicBezTo>
                  <a:pt x="693" y="0"/>
                  <a:pt x="693" y="0"/>
                  <a:pt x="693" y="0"/>
                </a:cubicBezTo>
                <a:lnTo>
                  <a:pt x="693" y="101"/>
                </a:lnTo>
                <a:close/>
                <a:moveTo>
                  <a:pt x="350" y="224"/>
                </a:moveTo>
                <a:cubicBezTo>
                  <a:pt x="114" y="224"/>
                  <a:pt x="114" y="224"/>
                  <a:pt x="114" y="224"/>
                </a:cubicBezTo>
                <a:cubicBezTo>
                  <a:pt x="114" y="0"/>
                  <a:pt x="114" y="0"/>
                  <a:pt x="1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61"/>
                  <a:pt x="0" y="561"/>
                  <a:pt x="0" y="561"/>
                </a:cubicBezTo>
                <a:cubicBezTo>
                  <a:pt x="114" y="561"/>
                  <a:pt x="114" y="561"/>
                  <a:pt x="114" y="561"/>
                </a:cubicBezTo>
                <a:cubicBezTo>
                  <a:pt x="114" y="336"/>
                  <a:pt x="114" y="336"/>
                  <a:pt x="114" y="336"/>
                </a:cubicBezTo>
                <a:cubicBezTo>
                  <a:pt x="350" y="336"/>
                  <a:pt x="350" y="336"/>
                  <a:pt x="350" y="336"/>
                </a:cubicBezTo>
                <a:lnTo>
                  <a:pt x="350" y="224"/>
                </a:lnTo>
                <a:close/>
              </a:path>
            </a:pathLst>
          </a:custGeom>
          <a:solidFill>
            <a:srgbClr val="6C6F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117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13920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109397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64670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4944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03645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01246388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-9144" y="4572000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-9144" y="4663440"/>
            <a:ext cx="146304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4654296"/>
            <a:ext cx="75986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447800" y="0"/>
            <a:ext cx="100584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4478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6248206"/>
            <a:ext cx="4572000" cy="365125"/>
          </a:xfrm>
        </p:spPr>
        <p:txBody>
          <a:bodyPr rtlCol="0"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/>
              <a:t>Click icon to add picture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22482923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74338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53200" y="6248402"/>
            <a:ext cx="2209800" cy="365125"/>
          </a:xfrm>
        </p:spPr>
        <p:txBody>
          <a:bodyPr/>
          <a:lstStyle/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1" y="6248207"/>
            <a:ext cx="557348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6096318" y="0"/>
            <a:ext cx="32004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6"/>
          </a:xfrm>
        </p:spPr>
        <p:txBody>
          <a:bodyPr/>
          <a:lstStyle/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801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846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2326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6057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 descr="E3 PPT Title SF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527" b="14734" l="4511" r="48448">
                        <a14:foregroundMark x1="8084" y1="5251" x2="7440" y2="11912"/>
                        <a14:foregroundMark x1="14353" y1="7837" x2="14353" y2="7837"/>
                        <a14:foregroundMark x1="15466" y1="8699" x2="15466" y2="8699"/>
                        <a14:foregroundMark x1="16579" y1="8777" x2="16579" y2="8777"/>
                        <a14:foregroundMark x1="17809" y1="8699" x2="17809" y2="8699"/>
                        <a14:foregroundMark x1="19977" y1="8777" x2="19977" y2="8777"/>
                        <a14:foregroundMark x1="21441" y1="8934" x2="21441" y2="8934"/>
                        <a14:foregroundMark x1="22437" y1="8699" x2="22437" y2="8699"/>
                        <a14:foregroundMark x1="23492" y1="8699" x2="23492" y2="8699"/>
                        <a14:foregroundMark x1="24839" y1="8856" x2="24839" y2="8856"/>
                        <a14:foregroundMark x1="26128" y1="8777" x2="26128" y2="8777"/>
                        <a14:foregroundMark x1="26069" y1="7915" x2="26069" y2="7915"/>
                        <a14:foregroundMark x1="26655" y1="9013" x2="26655" y2="9013"/>
                        <a14:foregroundMark x1="27475" y1="8464" x2="27475" y2="8464"/>
                        <a14:foregroundMark x1="28647" y1="8621" x2="28647" y2="8621"/>
                        <a14:foregroundMark x1="29936" y1="8621" x2="29936" y2="8621"/>
                        <a14:foregroundMark x1="31927" y1="8386" x2="31927" y2="8386"/>
                        <a14:foregroundMark x1="32982" y1="8621" x2="32982" y2="8621"/>
                        <a14:foregroundMark x1="34271" y1="8386" x2="34271" y2="8386"/>
                        <a14:foregroundMark x1="35267" y1="8464" x2="35267" y2="8464"/>
                        <a14:foregroundMark x1="36380" y1="8150" x2="36380" y2="8150"/>
                        <a14:foregroundMark x1="37317" y1="8464" x2="37317" y2="8464"/>
                        <a14:foregroundMark x1="38781" y1="8464" x2="38781" y2="8464"/>
                        <a14:foregroundMark x1="36321" y1="9013" x2="36321" y2="9013"/>
                        <a14:foregroundMark x1="39543" y1="8777" x2="39543" y2="8777"/>
                        <a14:foregroundMark x1="41301" y1="8464" x2="41301" y2="8464"/>
                        <a14:foregroundMark x1="42355" y1="8464" x2="42355" y2="8464"/>
                        <a14:foregroundMark x1="43351" y1="8542" x2="43351" y2="8542"/>
                        <a14:foregroundMark x1="45108" y1="8542" x2="45108" y2="8542"/>
                        <a14:foregroundMark x1="45108" y1="7915" x2="45108" y2="7915"/>
                        <a14:foregroundMark x1="45694" y1="8777" x2="45694" y2="8777"/>
                        <a14:foregroundMark x1="46983" y1="8856" x2="46983" y2="8856"/>
                        <a14:backgroundMark x1="16462" y1="9169" x2="16462" y2="916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99" t="2210" r="50000" b="83830"/>
          <a:stretch/>
        </p:blipFill>
        <p:spPr bwMode="auto">
          <a:xfrm>
            <a:off x="274320" y="0"/>
            <a:ext cx="43243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0906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7734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090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6453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5640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3529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8642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74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2523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187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918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0748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2949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640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3596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9511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0449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 b="1">
                <a:solidFill>
                  <a:schemeClr val="accent6"/>
                </a:solidFill>
              </a:defRPr>
            </a:lvl1pPr>
          </a:lstStyle>
          <a:p>
            <a:r>
              <a:rPr lang="en-US" dirty="0">
                <a:solidFill>
                  <a:srgbClr val="E85F31"/>
                </a:solidFill>
              </a:rPr>
              <a:t>DRAFT</a:t>
            </a:r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3124200" y="624840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E85F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8482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b="1" smtClean="0">
                <a:solidFill>
                  <a:srgbClr val="005070"/>
                </a:solidFill>
              </a:rPr>
              <a:pPr/>
              <a:t>‹#›</a:t>
            </a:fld>
            <a:endParaRPr lang="en-US" b="1" dirty="0">
              <a:solidFill>
                <a:srgbClr val="00507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>
                <a:solidFill>
                  <a:schemeClr val="accent6"/>
                </a:solidFill>
              </a:defRPr>
            </a:lvl1pPr>
          </a:lstStyle>
          <a:p>
            <a:r>
              <a:rPr lang="en-US" dirty="0">
                <a:solidFill>
                  <a:srgbClr val="E85F31"/>
                </a:solidFill>
              </a:rPr>
              <a:t>DRAF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 bwMode="auto">
          <a:xfrm>
            <a:off x="3124200" y="624840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E85F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5159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8" descr="E3 PPT Title SF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527" b="14734" l="4511" r="48448">
                        <a14:foregroundMark x1="8084" y1="5251" x2="7440" y2="11912"/>
                        <a14:foregroundMark x1="14353" y1="7837" x2="14353" y2="7837"/>
                        <a14:foregroundMark x1="15466" y1="8699" x2="15466" y2="8699"/>
                        <a14:foregroundMark x1="16579" y1="8777" x2="16579" y2="8777"/>
                        <a14:foregroundMark x1="17809" y1="8699" x2="17809" y2="8699"/>
                        <a14:foregroundMark x1="19977" y1="8777" x2="19977" y2="8777"/>
                        <a14:foregroundMark x1="21441" y1="8934" x2="21441" y2="8934"/>
                        <a14:foregroundMark x1="22437" y1="8699" x2="22437" y2="8699"/>
                        <a14:foregroundMark x1="23492" y1="8699" x2="23492" y2="8699"/>
                        <a14:foregroundMark x1="24839" y1="8856" x2="24839" y2="8856"/>
                        <a14:foregroundMark x1="26128" y1="8777" x2="26128" y2="8777"/>
                        <a14:foregroundMark x1="26069" y1="7915" x2="26069" y2="7915"/>
                        <a14:foregroundMark x1="26655" y1="9013" x2="26655" y2="9013"/>
                        <a14:foregroundMark x1="27475" y1="8464" x2="27475" y2="8464"/>
                        <a14:foregroundMark x1="28647" y1="8621" x2="28647" y2="8621"/>
                        <a14:foregroundMark x1="29936" y1="8621" x2="29936" y2="8621"/>
                        <a14:foregroundMark x1="31927" y1="8386" x2="31927" y2="8386"/>
                        <a14:foregroundMark x1="32982" y1="8621" x2="32982" y2="8621"/>
                        <a14:foregroundMark x1="34271" y1="8386" x2="34271" y2="8386"/>
                        <a14:foregroundMark x1="35267" y1="8464" x2="35267" y2="8464"/>
                        <a14:foregroundMark x1="36380" y1="8150" x2="36380" y2="8150"/>
                        <a14:foregroundMark x1="37317" y1="8464" x2="37317" y2="8464"/>
                        <a14:foregroundMark x1="38781" y1="8464" x2="38781" y2="8464"/>
                        <a14:foregroundMark x1="36321" y1="9013" x2="36321" y2="9013"/>
                        <a14:foregroundMark x1="39543" y1="8777" x2="39543" y2="8777"/>
                        <a14:foregroundMark x1="41301" y1="8464" x2="41301" y2="8464"/>
                        <a14:foregroundMark x1="42355" y1="8464" x2="42355" y2="8464"/>
                        <a14:foregroundMark x1="43351" y1="8542" x2="43351" y2="8542"/>
                        <a14:foregroundMark x1="45108" y1="8542" x2="45108" y2="8542"/>
                        <a14:foregroundMark x1="45108" y1="7915" x2="45108" y2="7915"/>
                        <a14:foregroundMark x1="45694" y1="8777" x2="45694" y2="8777"/>
                        <a14:foregroundMark x1="46983" y1="8856" x2="46983" y2="8856"/>
                        <a14:backgroundMark x1="16462" y1="9169" x2="16462" y2="916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99" t="2210" r="50000" b="83830"/>
          <a:stretch/>
        </p:blipFill>
        <p:spPr bwMode="auto">
          <a:xfrm>
            <a:off x="274320" y="0"/>
            <a:ext cx="43243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87086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6220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086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7756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0155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0622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0223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3507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42229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6490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0AC7AE4D-8381-4F3A-9EDA-EEBD240B2CCC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</p:spTree>
    <p:extLst>
      <p:ext uri="{BB962C8B-B14F-4D97-AF65-F5344CB8AC3E}">
        <p14:creationId xmlns:p14="http://schemas.microsoft.com/office/powerpoint/2010/main" val="7045108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7ED05D3-3488-4A87-9288-3F6819E50493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</p:spTree>
    <p:extLst>
      <p:ext uri="{BB962C8B-B14F-4D97-AF65-F5344CB8AC3E}">
        <p14:creationId xmlns:p14="http://schemas.microsoft.com/office/powerpoint/2010/main" val="249480823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43BB694-0BDB-47AD-A096-B5F2752BDACE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8" descr="E3 PPT Title S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551" b="89888" l="2996" r="96629">
                        <a14:foregroundMark x1="10612" y1="21910" x2="9238" y2="69663"/>
                        <a14:foregroundMark x1="23970" y1="40449" x2="23970" y2="40449"/>
                        <a14:foregroundMark x1="26342" y1="46629" x2="26342" y2="46629"/>
                        <a14:foregroundMark x1="28714" y1="47191" x2="28714" y2="47191"/>
                        <a14:foregroundMark x1="31336" y1="46629" x2="31336" y2="46629"/>
                        <a14:foregroundMark x1="35955" y1="47191" x2="35955" y2="47191"/>
                        <a14:foregroundMark x1="39076" y1="48315" x2="39076" y2="48315"/>
                        <a14:foregroundMark x1="41199" y1="46629" x2="41199" y2="46629"/>
                        <a14:foregroundMark x1="43446" y1="46629" x2="43446" y2="46629"/>
                        <a14:foregroundMark x1="46317" y1="47753" x2="46317" y2="47753"/>
                        <a14:foregroundMark x1="49064" y1="47191" x2="49064" y2="47191"/>
                        <a14:foregroundMark x1="48939" y1="41011" x2="48939" y2="41011"/>
                        <a14:foregroundMark x1="50187" y1="48876" x2="50187" y2="48876"/>
                        <a14:foregroundMark x1="51935" y1="44944" x2="51935" y2="44944"/>
                        <a14:foregroundMark x1="54432" y1="46067" x2="54432" y2="46067"/>
                        <a14:foregroundMark x1="57179" y1="46067" x2="57179" y2="46067"/>
                        <a14:foregroundMark x1="61423" y1="44382" x2="61423" y2="44382"/>
                        <a14:foregroundMark x1="63670" y1="46067" x2="63670" y2="46067"/>
                        <a14:foregroundMark x1="66417" y1="44382" x2="66417" y2="44382"/>
                        <a14:foregroundMark x1="68539" y1="44944" x2="68539" y2="44944"/>
                        <a14:foregroundMark x1="70911" y1="42697" x2="70911" y2="42697"/>
                        <a14:foregroundMark x1="72909" y1="44944" x2="72909" y2="44944"/>
                        <a14:foregroundMark x1="76030" y1="44944" x2="76030" y2="44944"/>
                        <a14:foregroundMark x1="70787" y1="48876" x2="70787" y2="48876"/>
                        <a14:foregroundMark x1="77653" y1="47191" x2="77653" y2="47191"/>
                        <a14:foregroundMark x1="81398" y1="44944" x2="81398" y2="44944"/>
                        <a14:foregroundMark x1="83645" y1="44944" x2="83645" y2="44944"/>
                        <a14:foregroundMark x1="85768" y1="45506" x2="85768" y2="45506"/>
                        <a14:foregroundMark x1="89513" y1="45506" x2="89513" y2="45506"/>
                        <a14:foregroundMark x1="89513" y1="41011" x2="89513" y2="41011"/>
                        <a14:foregroundMark x1="90762" y1="47191" x2="90762" y2="47191"/>
                        <a14:foregroundMark x1="93508" y1="47753" x2="93508" y2="47753"/>
                        <a14:backgroundMark x1="28464" y1="50000" x2="28464" y2="5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4320" y="0"/>
            <a:ext cx="43243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36608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CB92A6-4DF1-4B20-AA83-F867B310F581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8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5351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11F7D40-1F7C-479D-883E-310384E30E4C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0561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35FE57C-D4F0-4EA1-8F82-40F28E3FFAB5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4312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5E4D710-1A38-42E0-80D7-42256CBE3B4B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66877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795CC8-B282-43FC-B4A8-3FEFC9B0487A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733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FD194A2-7038-4CED-8E4F-8F11D3C422B7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4350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74B8C8A-A212-4CB2-836D-289E98646D3E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9046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3DCCAB4-F821-4492-8A7C-38FBC699D3A4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3674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3 PPT Title S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2613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3 PPT Title SF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8600" y="-190106"/>
            <a:ext cx="9525000" cy="71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2140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68CFDC3-C5DE-4ABA-A2BA-2517A2613B57}" type="datetime1">
              <a:rPr lang="en-US" smtClean="0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5D6609-DC0F-4E37-ABC6-5A6B4BB0A69F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6626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8986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BF73015-94B8-4F1C-82AE-9A869C362BC3}" type="datetime1">
              <a:rPr lang="en-US" smtClean="0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C2CF07-7429-4804-A8C2-0949D487DAFF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4418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73F8656-F297-4FC3-9764-39B32B9C5599}" type="datetime1">
              <a:rPr lang="en-US" smtClean="0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D358BF-C03F-49A9-8DD9-63B89C6ACAD4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42654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F0ED9B-D8B4-4BF4-A78D-C31BA6185DF0}" type="datetime1">
              <a:rPr lang="en-US" smtClean="0">
                <a:solidFill>
                  <a:srgbClr val="005070"/>
                </a:solidFill>
              </a:rPr>
              <a:pPr/>
              <a:t>4/18/2017</a:t>
            </a:fld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8ED6168-4A42-406B-AA4E-AF3184462135}" type="slidenum">
              <a:rPr lang="en-US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4323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71066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38502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2356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530150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9881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848074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463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0199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E3 PPT Sub Title logo solid d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268217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8754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2635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5178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03829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648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3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04772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26562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1703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8489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17253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91306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8" name="Picture 8" descr="E3 PPT Title S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F1EDCBA3-68EA-4D0E-862A-30B6BA3197B3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</p:spTree>
    <p:extLst>
      <p:ext uri="{BB962C8B-B14F-4D97-AF65-F5344CB8AC3E}">
        <p14:creationId xmlns:p14="http://schemas.microsoft.com/office/powerpoint/2010/main" val="38863510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F57CC89-AD3F-4092-B7BE-54121F21D59F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</p:spTree>
    <p:extLst>
      <p:ext uri="{BB962C8B-B14F-4D97-AF65-F5344CB8AC3E}">
        <p14:creationId xmlns:p14="http://schemas.microsoft.com/office/powerpoint/2010/main" val="13605485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B91837A-0BAB-45F2-8EDB-CBF9543DB3EC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8" descr="E3 PPT Title S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551" b="89888" l="2996" r="96629">
                        <a14:foregroundMark x1="10612" y1="21910" x2="9238" y2="69663"/>
                        <a14:foregroundMark x1="23970" y1="40449" x2="23970" y2="40449"/>
                        <a14:foregroundMark x1="26342" y1="46629" x2="26342" y2="46629"/>
                        <a14:foregroundMark x1="28714" y1="47191" x2="28714" y2="47191"/>
                        <a14:foregroundMark x1="31336" y1="46629" x2="31336" y2="46629"/>
                        <a14:foregroundMark x1="35955" y1="47191" x2="35955" y2="47191"/>
                        <a14:foregroundMark x1="39076" y1="48315" x2="39076" y2="48315"/>
                        <a14:foregroundMark x1="41199" y1="46629" x2="41199" y2="46629"/>
                        <a14:foregroundMark x1="43446" y1="46629" x2="43446" y2="46629"/>
                        <a14:foregroundMark x1="46317" y1="47753" x2="46317" y2="47753"/>
                        <a14:foregroundMark x1="49064" y1="47191" x2="49064" y2="47191"/>
                        <a14:foregroundMark x1="48939" y1="41011" x2="48939" y2="41011"/>
                        <a14:foregroundMark x1="50187" y1="48876" x2="50187" y2="48876"/>
                        <a14:foregroundMark x1="51935" y1="44944" x2="51935" y2="44944"/>
                        <a14:foregroundMark x1="54432" y1="46067" x2="54432" y2="46067"/>
                        <a14:foregroundMark x1="57179" y1="46067" x2="57179" y2="46067"/>
                        <a14:foregroundMark x1="61423" y1="44382" x2="61423" y2="44382"/>
                        <a14:foregroundMark x1="63670" y1="46067" x2="63670" y2="46067"/>
                        <a14:foregroundMark x1="66417" y1="44382" x2="66417" y2="44382"/>
                        <a14:foregroundMark x1="68539" y1="44944" x2="68539" y2="44944"/>
                        <a14:foregroundMark x1="70911" y1="42697" x2="70911" y2="42697"/>
                        <a14:foregroundMark x1="72909" y1="44944" x2="72909" y2="44944"/>
                        <a14:foregroundMark x1="76030" y1="44944" x2="76030" y2="44944"/>
                        <a14:foregroundMark x1="70787" y1="48876" x2="70787" y2="48876"/>
                        <a14:foregroundMark x1="77653" y1="47191" x2="77653" y2="47191"/>
                        <a14:foregroundMark x1="81398" y1="44944" x2="81398" y2="44944"/>
                        <a14:foregroundMark x1="83645" y1="44944" x2="83645" y2="44944"/>
                        <a14:foregroundMark x1="85768" y1="45506" x2="85768" y2="45506"/>
                        <a14:foregroundMark x1="89513" y1="45506" x2="89513" y2="45506"/>
                        <a14:foregroundMark x1="89513" y1="41011" x2="89513" y2="41011"/>
                        <a14:foregroundMark x1="90762" y1="47191" x2="90762" y2="47191"/>
                        <a14:foregroundMark x1="93508" y1="47753" x2="93508" y2="47753"/>
                        <a14:backgroundMark x1="28464" y1="50000" x2="28464" y2="5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4320" y="0"/>
            <a:ext cx="43243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881654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022B206-D141-43FA-9CD4-73090910E7DE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9667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52A7260-59F3-443F-B060-9C6D6E7D096D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90188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3EBA3D3-532C-401A-86CF-A6028303808F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18052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1EFDC46-D7F7-4253-845D-917C2DA399A4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68153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62CD7CB-8240-4680-AA41-180289EC273B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7012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04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19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/Volumes/S19%20SharePoint/Angie%20Server/Brand%20Reccomend%20Exercises/PowerPoint%20template/PGE_Spot_full_cmyk_pos_sm.tif" TargetMode="External"/><Relationship Id="rId3" Type="http://schemas.openxmlformats.org/officeDocument/2006/relationships/slideLayout" Target="../slideLayouts/slideLayout145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17.png"/><Relationship Id="rId2" Type="http://schemas.openxmlformats.org/officeDocument/2006/relationships/slideLayout" Target="../slideLayouts/slideLayout144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43.xml"/><Relationship Id="rId6" Type="http://schemas.openxmlformats.org/officeDocument/2006/relationships/vmlDrawing" Target="../drawings/vmlDrawing2.vml"/><Relationship Id="rId11" Type="http://schemas.openxmlformats.org/officeDocument/2006/relationships/tags" Target="../tags/tag6.xml"/><Relationship Id="rId24" Type="http://schemas.openxmlformats.org/officeDocument/2006/relationships/image" Target="NULL"/><Relationship Id="rId5" Type="http://schemas.openxmlformats.org/officeDocument/2006/relationships/theme" Target="../theme/theme13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2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146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image" Target="../media/image1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17.png"/><Relationship Id="rId3" Type="http://schemas.openxmlformats.org/officeDocument/2006/relationships/slideLayout" Target="../slideLayouts/slideLayout161.xml"/><Relationship Id="rId21" Type="http://schemas.openxmlformats.org/officeDocument/2006/relationships/tags" Target="../tags/tag32.xml"/><Relationship Id="rId7" Type="http://schemas.openxmlformats.org/officeDocument/2006/relationships/vmlDrawing" Target="../drawings/vmlDrawing4.v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image" Target="NULL"/><Relationship Id="rId2" Type="http://schemas.openxmlformats.org/officeDocument/2006/relationships/slideLayout" Target="../slideLayouts/slideLayout160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159.xml"/><Relationship Id="rId6" Type="http://schemas.openxmlformats.org/officeDocument/2006/relationships/theme" Target="../theme/theme15.xml"/><Relationship Id="rId11" Type="http://schemas.openxmlformats.org/officeDocument/2006/relationships/tags" Target="../tags/tag22.xml"/><Relationship Id="rId24" Type="http://schemas.openxmlformats.org/officeDocument/2006/relationships/oleObject" Target="../embeddings/oleObject4.bin"/><Relationship Id="rId5" Type="http://schemas.openxmlformats.org/officeDocument/2006/relationships/slideLayout" Target="../slideLayouts/slideLayout163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162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image" Target="/Volumes/S19%20SharePoint/Angie%20Server/Brand%20Reccomend%20Exercises/PowerPoint%20template/PGE_Spot_full_cmyk_pos_sm.tif" TargetMode="Externa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76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0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90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theme" Target="../theme/theme18.xml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slideLayout" Target="../slideLayouts/slideLayout20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26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5" Type="http://schemas.openxmlformats.org/officeDocument/2006/relationships/theme" Target="../theme/theme21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6.xml"/><Relationship Id="rId13" Type="http://schemas.openxmlformats.org/officeDocument/2006/relationships/slideLayout" Target="../slideLayouts/slideLayout251.xml"/><Relationship Id="rId3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0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40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5" Type="http://schemas.openxmlformats.org/officeDocument/2006/relationships/slideLayout" Target="../slideLayouts/slideLayout243.xml"/><Relationship Id="rId15" Type="http://schemas.openxmlformats.org/officeDocument/2006/relationships/theme" Target="../theme/theme22.xml"/><Relationship Id="rId10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0.xml"/><Relationship Id="rId3" Type="http://schemas.openxmlformats.org/officeDocument/2006/relationships/slideLayout" Target="../slideLayouts/slideLayout255.xml"/><Relationship Id="rId7" Type="http://schemas.openxmlformats.org/officeDocument/2006/relationships/slideLayout" Target="../slideLayouts/slideLayout259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8.jpe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538FC07C-BB3F-44E8-9A24-C3084A87D19B}" type="datetimeFigureOut">
              <a:rPr lang="en-US" smtClean="0"/>
              <a:t>4/18/2017</a:t>
            </a:fld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00D75915-6743-4A5D-B6DB-E20834148A10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/>
          <p:cNvPicPr/>
          <p:nvPr userDrawn="1"/>
        </p:nvPicPr>
        <p:blipFill>
          <a:blip r:embed="rId1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228600"/>
            <a:ext cx="914400" cy="5224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5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E3 PPT Both dots light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5070"/>
                </a:solidFill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8185AAD-FB17-48D4-AED2-2FA9764A6784}" type="datetime1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/18/2017</a:t>
            </a:fld>
            <a:endParaRPr lang="en-US" dirty="0">
              <a:latin typeface="Arial" charset="0"/>
            </a:endParaRPr>
          </a:p>
        </p:txBody>
      </p:sp>
      <p:sp>
        <p:nvSpPr>
          <p:cNvPr id="4915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5070"/>
                </a:solidFill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latin typeface="Arial" charset="0"/>
            </a:endParaRPr>
          </a:p>
        </p:txBody>
      </p:sp>
      <p:sp>
        <p:nvSpPr>
          <p:cNvPr id="4915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070"/>
                </a:solidFill>
                <a:latin typeface="Verdana" pitchFamily="34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C153564-1E7A-4ED7-BF44-1ED2438382EC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818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Blip>
          <a:blip r:embed="rId18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0" fontAlgn="base" hangingPunct="0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E3 PPT Both dots light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28F7C2-322E-4A48-8FF0-467D2C8AF46A}" type="datetime1">
              <a:rPr lang="en-US">
                <a:solidFill>
                  <a:prstClr val="black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18/2017</a:t>
            </a:fld>
            <a:endParaRPr lang="en-US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4915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4915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0F6E92-EFAB-45A9-B807-5D808512F92A}" type="slidenum">
              <a:rPr lang="en-US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7716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7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77C08302-0217-4474-9C3E-11956699C38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B2F5EFB4-8D64-4C53-88F2-E45311B17A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009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8" y="485222"/>
            <a:ext cx="828210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7818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141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26" y="94851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527" y="6373249"/>
            <a:ext cx="8811121" cy="369302"/>
            <a:chOff x="75" y="3925"/>
            <a:chExt cx="5385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6"/>
              <a:ext cx="409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77575" indent="-477575" defTabSz="909947" fontAlgn="base">
                <a:spcBef>
                  <a:spcPct val="0"/>
                </a:spcBef>
                <a:spcAft>
                  <a:spcPct val="0"/>
                </a:spcAft>
                <a:tabLst>
                  <a:tab pos="477575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43112" y="199568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136482" y="1000391"/>
            <a:ext cx="779144" cy="101720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822246" y="1000365"/>
            <a:ext cx="1093393" cy="745084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827010" y="1000352"/>
            <a:ext cx="1088629" cy="216680"/>
            <a:chOff x="7673881" y="285750"/>
            <a:chExt cx="1066894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8068278" y="1000352"/>
            <a:ext cx="847347" cy="1333054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8" name="Rectangle 10"/>
          <p:cNvSpPr>
            <a:spLocks noChangeArrowheads="1"/>
          </p:cNvSpPr>
          <p:nvPr/>
        </p:nvSpPr>
        <p:spPr bwMode="auto">
          <a:xfrm flipV="1">
            <a:off x="121488" y="834183"/>
            <a:ext cx="8850808" cy="100424"/>
          </a:xfrm>
          <a:prstGeom prst="rect">
            <a:avLst/>
          </a:prstGeom>
          <a:solidFill>
            <a:srgbClr val="FFCB3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2876" tIns="46442" rIns="92876" bIns="46442" anchor="ctr">
            <a:noAutofit/>
          </a:bodyPr>
          <a:lstStyle/>
          <a:p>
            <a:pPr defTabSz="913141" fontAlgn="base">
              <a:spcBef>
                <a:spcPct val="0"/>
              </a:spcBef>
              <a:spcAft>
                <a:spcPct val="0"/>
              </a:spcAft>
              <a:buClr>
                <a:srgbClr val="007FA5"/>
              </a:buClr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9" name="Rectangle 59"/>
          <p:cNvSpPr>
            <a:spLocks noChangeArrowheads="1"/>
          </p:cNvSpPr>
          <p:nvPr/>
        </p:nvSpPr>
        <p:spPr bwMode="auto">
          <a:xfrm>
            <a:off x="6971269" y="6585537"/>
            <a:ext cx="1753427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13141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Preliminary and pre-decisional</a:t>
            </a:r>
          </a:p>
        </p:txBody>
      </p:sp>
      <p:pic>
        <p:nvPicPr>
          <p:cNvPr id="56" name="PGE_Spot_full_cmyk_pos_sm.tif" descr="/Volumes/S19 SharePoint/Angie Server/Brand Reccomend Exercises/PowerPoint template/PGE_Spot_full_cmyk_pos_sm.tif"/>
          <p:cNvPicPr>
            <a:picLocks noChangeAspect="1"/>
          </p:cNvPicPr>
          <p:nvPr/>
        </p:nvPicPr>
        <p:blipFill>
          <a:blip r:embed="rId25" r:link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92669" y="208739"/>
            <a:ext cx="468134" cy="46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43112" y="2644411"/>
            <a:ext cx="4350892" cy="2512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770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6" r:id="rId4"/>
  </p:sldLayoutIdLst>
  <p:hf hdr="0" ftr="0" dt="0"/>
  <p:txStyles>
    <p:titleStyle>
      <a:lvl1pPr algn="l" defTabSz="909947" rtl="0" eaLnBrk="1" fontAlgn="base" hangingPunct="1">
        <a:spcBef>
          <a:spcPct val="0"/>
        </a:spcBef>
        <a:spcAft>
          <a:spcPct val="0"/>
        </a:spcAft>
        <a:tabLst>
          <a:tab pos="27427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4631"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9306"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3965"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8618"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834" indent="-195222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4631" indent="-266210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4381" indent="-158116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631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9306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3965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8618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3277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7930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2586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7241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376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5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8" y="485222"/>
            <a:ext cx="828210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7818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141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26" y="94851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527" y="6373249"/>
            <a:ext cx="8811121" cy="369302"/>
            <a:chOff x="75" y="3925"/>
            <a:chExt cx="5385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6"/>
              <a:ext cx="409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77575" indent="-477575" defTabSz="909947" fontAlgn="base">
                <a:spcBef>
                  <a:spcPct val="0"/>
                </a:spcBef>
                <a:spcAft>
                  <a:spcPct val="0"/>
                </a:spcAft>
                <a:tabLst>
                  <a:tab pos="477575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43112" y="199568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136482" y="1000391"/>
            <a:ext cx="779144" cy="101720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822246" y="1000365"/>
            <a:ext cx="1093393" cy="745084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141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827010" y="1000352"/>
            <a:ext cx="1088629" cy="216680"/>
            <a:chOff x="7673881" y="285750"/>
            <a:chExt cx="1066894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8068278" y="1000352"/>
            <a:ext cx="847347" cy="1333054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947" fontAlgn="base">
                <a:spcBef>
                  <a:spcPct val="0"/>
                </a:spcBef>
                <a:spcAft>
                  <a:spcPct val="0"/>
                </a:spcAft>
                <a:buClr>
                  <a:srgbClr val="007FA5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14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8" name="Rectangle 10"/>
          <p:cNvSpPr>
            <a:spLocks noChangeArrowheads="1"/>
          </p:cNvSpPr>
          <p:nvPr/>
        </p:nvSpPr>
        <p:spPr bwMode="auto">
          <a:xfrm flipV="1">
            <a:off x="121488" y="834183"/>
            <a:ext cx="8850808" cy="100424"/>
          </a:xfrm>
          <a:prstGeom prst="rect">
            <a:avLst/>
          </a:prstGeom>
          <a:solidFill>
            <a:srgbClr val="FFCB3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2876" tIns="46442" rIns="92876" bIns="46442" anchor="ctr">
            <a:noAutofit/>
          </a:bodyPr>
          <a:lstStyle/>
          <a:p>
            <a:pPr defTabSz="913141" fontAlgn="base">
              <a:spcBef>
                <a:spcPct val="0"/>
              </a:spcBef>
              <a:spcAft>
                <a:spcPct val="0"/>
              </a:spcAft>
              <a:buClr>
                <a:srgbClr val="007FA5"/>
              </a:buClr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9" name="Rectangle 59"/>
          <p:cNvSpPr>
            <a:spLocks noChangeArrowheads="1"/>
          </p:cNvSpPr>
          <p:nvPr/>
        </p:nvSpPr>
        <p:spPr bwMode="auto">
          <a:xfrm>
            <a:off x="6971269" y="6585537"/>
            <a:ext cx="1753427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13141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Preliminary and pre-decisional</a:t>
            </a:r>
          </a:p>
        </p:txBody>
      </p:sp>
      <p:pic>
        <p:nvPicPr>
          <p:cNvPr id="56" name="PGE_Spot_full_cmyk_pos_sm.tif" descr="/Volumes/S19 SharePoint/Angie Server/Brand Reccomend Exercises/PowerPoint template/PGE_Spot_full_cmyk_pos_sm.tif"/>
          <p:cNvPicPr>
            <a:picLocks noChangeAspect="1"/>
          </p:cNvPicPr>
          <p:nvPr/>
        </p:nvPicPr>
        <p:blipFill>
          <a:blip r:embed="rId26" r:link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92669" y="208739"/>
            <a:ext cx="468134" cy="46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43112" y="2644411"/>
            <a:ext cx="4350892" cy="2512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905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31" r:id="rId4"/>
    <p:sldLayoutId id="2147484032" r:id="rId5"/>
  </p:sldLayoutIdLst>
  <p:hf hdr="0" ftr="0" dt="0"/>
  <p:txStyles>
    <p:titleStyle>
      <a:lvl1pPr algn="l" defTabSz="909947" rtl="0" eaLnBrk="1" fontAlgn="base" hangingPunct="1">
        <a:spcBef>
          <a:spcPct val="0"/>
        </a:spcBef>
        <a:spcAft>
          <a:spcPct val="0"/>
        </a:spcAft>
        <a:tabLst>
          <a:tab pos="27427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4631"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9306"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3965"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8618" algn="l" defTabSz="90994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834" indent="-195222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4631" indent="-266210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4381" indent="-158116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035" indent="-132297" algn="l" defTabSz="9099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631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9306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3965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8618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3277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7930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2586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7241" algn="l" defTabSz="929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6781800" y="6397625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D75915-6743-4A5D-B6DB-E20834148A10}" type="slidenum">
              <a:rPr lang="en-US" sz="1400" b="1" smtClean="0">
                <a:solidFill>
                  <a:srgbClr val="005070"/>
                </a:solidFill>
              </a:rPr>
              <a:pPr/>
              <a:t>‹#›</a:t>
            </a:fld>
            <a:endParaRPr lang="en-US" sz="1400" b="1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31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E3 PPT Both dots light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915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90081" y="6381750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915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867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1" r:id="rId1"/>
    <p:sldLayoutId id="2147484112" r:id="rId2"/>
    <p:sldLayoutId id="214748411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  <p:sldLayoutId id="2147484121" r:id="rId11"/>
    <p:sldLayoutId id="2147484122" r:id="rId12"/>
    <p:sldLayoutId id="2147484123" r:id="rId13"/>
    <p:sldLayoutId id="2147484124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7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E3 PPT Both dots light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915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90081" y="6381750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5070"/>
              </a:solidFill>
            </a:endParaRPr>
          </a:p>
        </p:txBody>
      </p:sp>
      <p:sp>
        <p:nvSpPr>
          <p:cNvPr id="4915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fld id="{B6F15528-21DE-4FAA-801E-634DDDAF4B2B}" type="slidenum">
              <a:rPr lang="en-US" smtClean="0">
                <a:solidFill>
                  <a:srgbClr val="005070"/>
                </a:solidFill>
              </a:rPr>
              <a:pPr/>
              <a:t>‹#›</a:t>
            </a:fld>
            <a:endParaRPr lang="en-US" dirty="0">
              <a:solidFill>
                <a:srgbClr val="005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304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  <p:sldLayoutId id="2147484144" r:id="rId4"/>
    <p:sldLayoutId id="2147484145" r:id="rId5"/>
    <p:sldLayoutId id="2147484146" r:id="rId6"/>
    <p:sldLayoutId id="2147484147" r:id="rId7"/>
    <p:sldLayoutId id="2147484148" r:id="rId8"/>
    <p:sldLayoutId id="2147484149" r:id="rId9"/>
    <p:sldLayoutId id="2147484150" r:id="rId10"/>
    <p:sldLayoutId id="2147484151" r:id="rId11"/>
    <p:sldLayoutId id="2147484152" r:id="rId12"/>
    <p:sldLayoutId id="2147484153" r:id="rId13"/>
    <p:sldLayoutId id="2147484154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7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902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59" r:id="rId4"/>
    <p:sldLayoutId id="2147484160" r:id="rId5"/>
    <p:sldLayoutId id="2147484161" r:id="rId6"/>
    <p:sldLayoutId id="2147484162" r:id="rId7"/>
    <p:sldLayoutId id="2147484163" r:id="rId8"/>
    <p:sldLayoutId id="2147484164" r:id="rId9"/>
    <p:sldLayoutId id="2147484165" r:id="rId10"/>
    <p:sldLayoutId id="2147484166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7" name="Picture 7" descr="E3 PPT Sub Title logo solid dk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525000" cy="714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219200" y="2743200"/>
            <a:ext cx="6781800" cy="144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  <a:cs typeface="Arial" charset="0"/>
              </a:rPr>
              <a:pPr/>
              <a:t>4/18/2017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  <a:cs typeface="Arial" charset="0"/>
              </a:rPr>
              <a:pPr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38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E3 PPT Both dots light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28F7C2-322E-4A48-8FF0-467D2C8AF46A}" type="datetime1">
              <a:rPr lang="en-US">
                <a:solidFill>
                  <a:srgbClr val="005070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18/2017</a:t>
            </a:fld>
            <a:endParaRPr lang="en-US" dirty="0">
              <a:solidFill>
                <a:srgbClr val="005070"/>
              </a:solidFill>
              <a:latin typeface="Arial" charset="0"/>
              <a:cs typeface="Arial" charset="0"/>
            </a:endParaRPr>
          </a:p>
        </p:txBody>
      </p:sp>
      <p:sp>
        <p:nvSpPr>
          <p:cNvPr id="4915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0"/>
              </a:solidFill>
              <a:latin typeface="Arial" charset="0"/>
              <a:cs typeface="Arial" charset="0"/>
            </a:endParaRPr>
          </a:p>
        </p:txBody>
      </p:sp>
      <p:sp>
        <p:nvSpPr>
          <p:cNvPr id="4915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0F6E92-EFAB-45A9-B807-5D808512F92A}" type="slidenum">
              <a:rPr lang="en-US">
                <a:solidFill>
                  <a:srgbClr val="00507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507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459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  <p:sldLayoutId id="2147484233" r:id="rId5"/>
    <p:sldLayoutId id="2147484234" r:id="rId6"/>
    <p:sldLayoutId id="2147484235" r:id="rId7"/>
    <p:sldLayoutId id="2147484236" r:id="rId8"/>
    <p:sldLayoutId id="2147484237" r:id="rId9"/>
    <p:sldLayoutId id="2147484238" r:id="rId10"/>
    <p:sldLayoutId id="2147484239" r:id="rId11"/>
    <p:sldLayoutId id="2147484240" r:id="rId12"/>
    <p:sldLayoutId id="2147484241" r:id="rId13"/>
    <p:sldLayoutId id="2147484242" r:id="rId14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7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E3 PPT Both dots light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28F7C2-322E-4A48-8FF0-467D2C8AF46A}" type="datetime1">
              <a:rPr lang="en-US">
                <a:solidFill>
                  <a:srgbClr val="005070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18/2017</a:t>
            </a:fld>
            <a:endParaRPr lang="en-US" dirty="0">
              <a:solidFill>
                <a:srgbClr val="005070"/>
              </a:solidFill>
              <a:latin typeface="Arial" charset="0"/>
              <a:cs typeface="Arial" charset="0"/>
            </a:endParaRPr>
          </a:p>
        </p:txBody>
      </p:sp>
      <p:sp>
        <p:nvSpPr>
          <p:cNvPr id="4915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0"/>
              </a:solidFill>
              <a:latin typeface="Arial" charset="0"/>
              <a:cs typeface="Arial" charset="0"/>
            </a:endParaRPr>
          </a:p>
        </p:txBody>
      </p:sp>
      <p:sp>
        <p:nvSpPr>
          <p:cNvPr id="4915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0F6E92-EFAB-45A9-B807-5D808512F92A}" type="slidenum">
              <a:rPr lang="en-US">
                <a:solidFill>
                  <a:srgbClr val="00507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507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458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68" r:id="rId10"/>
    <p:sldLayoutId id="2147484269" r:id="rId11"/>
    <p:sldLayoutId id="2147484270" r:id="rId12"/>
    <p:sldLayoutId id="2147484271" r:id="rId13"/>
    <p:sldLayoutId id="2147484272" r:id="rId14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7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82CD9849-4547-4B0D-8581-98223325074E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0" y="6248206"/>
            <a:ext cx="5421083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590550" y="1280160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B982E86E-72F6-4139-B110-2EF611EAEC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177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  <p:sldLayoutId id="2147484294" r:id="rId9"/>
    <p:sldLayoutId id="2147484295" r:id="rId10"/>
    <p:sldLayoutId id="2147484296" r:id="rId11"/>
  </p:sldLayoutIdLst>
  <p:txStyles>
    <p:titleStyle>
      <a:lvl1pPr algn="l" rtl="0" eaLnBrk="1" latinLnBrk="0" hangingPunct="1"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8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2C312AA6-802C-42F4-9614-2C20CA377810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381DF2B2-1C5F-4584-9FF0-A852AACC4C0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074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538FC07C-BB3F-44E8-9A24-C3084A87D19B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accent6"/>
                </a:solidFill>
              </a:defRPr>
            </a:lvl1pPr>
          </a:lstStyle>
          <a:p>
            <a:endParaRPr lang="en-US" dirty="0">
              <a:solidFill>
                <a:srgbClr val="E85F31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705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187222FF-4D0E-4357-A881-63C180CC0F6B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091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E3 PPT Both dots light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346C711-0A9A-4CD1-AED8-D535E75F285C}" type="datetime1">
              <a:rPr lang="en-US" smtClean="0">
                <a:solidFill>
                  <a:srgbClr val="005070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18/2017</a:t>
            </a:fld>
            <a:endParaRPr lang="en-US" dirty="0">
              <a:solidFill>
                <a:srgbClr val="005070"/>
              </a:solidFill>
              <a:latin typeface="Arial" charset="0"/>
              <a:cs typeface="Arial" charset="0"/>
            </a:endParaRPr>
          </a:p>
        </p:txBody>
      </p:sp>
      <p:sp>
        <p:nvSpPr>
          <p:cNvPr id="4915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0"/>
              </a:solidFill>
              <a:latin typeface="Arial" charset="0"/>
              <a:cs typeface="Arial" charset="0"/>
            </a:endParaRPr>
          </a:p>
        </p:txBody>
      </p:sp>
      <p:sp>
        <p:nvSpPr>
          <p:cNvPr id="4915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0F6E92-EFAB-45A9-B807-5D808512F92A}" type="slidenum">
              <a:rPr lang="en-US">
                <a:solidFill>
                  <a:srgbClr val="00507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507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308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7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28789D68-EC10-42D3-8651-7C0F58368D4D}" type="datetimeFigureOut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02E25C8B-2069-40C9-A94B-BD3B45E76E5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465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CE4A4694-8233-495B-80E8-8C60BD79EF82}" type="datetime1">
              <a:rPr lang="en-US" smtClean="0">
                <a:solidFill>
                  <a:srgbClr val="000000"/>
                </a:solidFill>
              </a:rPr>
              <a:pPr/>
              <a:t>4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and Deliberative Draft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fld id="{00D75915-6743-4A5D-B6DB-E20834148A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73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5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5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5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D Pool Pumped Storage Projec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38200" y="1828800"/>
            <a:ext cx="7315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Engineering Layout and Opinion of Probable Cost</a:t>
            </a:r>
          </a:p>
          <a:p>
            <a:pPr algn="ctr"/>
            <a:endParaRPr lang="en-US" sz="2800" dirty="0"/>
          </a:p>
          <a:p>
            <a:pPr algn="ctr"/>
            <a:r>
              <a:rPr lang="en-US" sz="2800" dirty="0"/>
              <a:t>January 6, 2017</a:t>
            </a:r>
          </a:p>
        </p:txBody>
      </p:sp>
    </p:spTree>
    <p:extLst>
      <p:ext uri="{BB962C8B-B14F-4D97-AF65-F5344CB8AC3E}">
        <p14:creationId xmlns:p14="http://schemas.microsoft.com/office/powerpoint/2010/main" val="19689944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ual Development Schedu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600200"/>
            <a:ext cx="76962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9682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ummary of Operating Characteristic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596632521"/>
              </p:ext>
            </p:extLst>
          </p:nvPr>
        </p:nvGraphicFramePr>
        <p:xfrm>
          <a:off x="1828800" y="1676400"/>
          <a:ext cx="5435600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7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17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3 x 400 MW Configuratio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umping Efficiency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9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enerating Efficiencies</a:t>
                      </a:r>
                      <a:r>
                        <a:rPr lang="en-US" baseline="0" dirty="0"/>
                        <a:t> (%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4.2 – 87.6 </a:t>
                      </a:r>
                    </a:p>
                    <a:p>
                      <a:r>
                        <a:rPr lang="en-US" dirty="0"/>
                        <a:t>(1,400</a:t>
                      </a:r>
                      <a:r>
                        <a:rPr lang="en-US" baseline="0" dirty="0"/>
                        <a:t> – 2,400 </a:t>
                      </a:r>
                      <a:r>
                        <a:rPr lang="en-US" baseline="0" dirty="0" err="1"/>
                        <a:t>cfs</a:t>
                      </a:r>
                      <a:r>
                        <a:rPr lang="en-US" baseline="0" dirty="0"/>
                        <a:t>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lant Cycle</a:t>
                      </a:r>
                      <a:r>
                        <a:rPr lang="en-US" baseline="0" dirty="0"/>
                        <a:t> Efficiency (%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~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600" y="3571875"/>
            <a:ext cx="4047856" cy="2584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3571875"/>
            <a:ext cx="3669645" cy="2584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36263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 of Market Produ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381137548"/>
              </p:ext>
            </p:extLst>
          </p:nvPr>
        </p:nvGraphicFramePr>
        <p:xfrm>
          <a:off x="304800" y="1981200"/>
          <a:ext cx="8305799" cy="2514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86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37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49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894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837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856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9203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1080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Generate Mode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>
                          <a:effectLst/>
                        </a:rPr>
                        <a:t>Pump Mode</a:t>
                      </a:r>
                      <a:endParaRPr lang="en-US" sz="2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057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dirty="0">
                          <a:effectLst/>
                        </a:rPr>
                        <a:t>Min MW</a:t>
                      </a:r>
                      <a:endParaRPr lang="en-US" sz="20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dirty="0">
                          <a:effectLst/>
                        </a:rPr>
                        <a:t>Max MW</a:t>
                      </a:r>
                      <a:endParaRPr lang="en-US" sz="20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dirty="0">
                          <a:effectLst/>
                        </a:rPr>
                        <a:t>Incremental</a:t>
                      </a:r>
                      <a:endParaRPr lang="en-US" sz="2000" b="1" dirty="0"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dirty="0">
                          <a:effectLst/>
                        </a:rPr>
                        <a:t>Reserves MW</a:t>
                      </a:r>
                      <a:endParaRPr lang="en-US" sz="20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dirty="0">
                          <a:effectLst/>
                        </a:rPr>
                        <a:t>Min MW</a:t>
                      </a:r>
                      <a:endParaRPr lang="en-US" sz="20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dirty="0">
                          <a:effectLst/>
                        </a:rPr>
                        <a:t>Max MW</a:t>
                      </a:r>
                      <a:endParaRPr lang="en-US" sz="20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Decremental</a:t>
                      </a:r>
                      <a:endParaRPr lang="en-US" sz="2000" b="1" dirty="0"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dirty="0">
                          <a:effectLst/>
                        </a:rPr>
                        <a:t>Reserves MW</a:t>
                      </a:r>
                      <a:endParaRPr lang="en-US" sz="20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161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@ Min Head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</a:rPr>
                        <a:t>183</a:t>
                      </a:r>
                      <a:endParaRPr lang="en-US" sz="2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</a:rPr>
                        <a:t>1,099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</a:rPr>
                        <a:t>916</a:t>
                      </a:r>
                      <a:endParaRPr lang="en-US" sz="2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</a:rPr>
                        <a:t>354</a:t>
                      </a:r>
                      <a:endParaRPr lang="en-US" sz="2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</a:rPr>
                        <a:t>1,552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</a:rPr>
                        <a:t>1,198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161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>
                          <a:effectLst/>
                        </a:rPr>
                        <a:t>@ Max Head</a:t>
                      </a:r>
                      <a:endParaRPr lang="en-US" sz="2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</a:rPr>
                        <a:t>111</a:t>
                      </a:r>
                      <a:endParaRPr lang="en-US" sz="2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</a:rPr>
                        <a:t>1,200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</a:rPr>
                        <a:t>1,089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</a:rPr>
                        <a:t>401</a:t>
                      </a:r>
                      <a:endParaRPr lang="en-US" sz="2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</a:rPr>
                        <a:t>1,552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</a:rPr>
                        <a:t>1,151</a:t>
                      </a:r>
                      <a:endParaRPr lang="en-US" sz="2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7945" marR="67945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04800" y="4648200"/>
            <a:ext cx="8458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pinning Reserves: Full range of unit operations in &lt; 3 min (gen), &lt; 4 min (pum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n-Spin Reserves: Full range of unit operations in &lt; 6 min (gen), &lt; 8 min (pump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758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Completed to Date</a:t>
            </a:r>
          </a:p>
        </p:txBody>
      </p:sp>
      <p:sp>
        <p:nvSpPr>
          <p:cNvPr id="9" name="Subtitle 8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Review of MWH Conceptual Layout</a:t>
            </a:r>
          </a:p>
          <a:p>
            <a:r>
              <a:rPr lang="en-US" dirty="0">
                <a:solidFill>
                  <a:srgbClr val="FF0000"/>
                </a:solidFill>
              </a:rPr>
              <a:t>Evaluation of single upper reservoir configuration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Two alternatives (7,100 / 11,800 AF)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Modified waterway profile</a:t>
            </a:r>
          </a:p>
          <a:p>
            <a:r>
              <a:rPr lang="en-US" dirty="0">
                <a:solidFill>
                  <a:srgbClr val="FF0000"/>
                </a:solidFill>
              </a:rPr>
              <a:t>Preliminary Sizing and Layout of Power Complex </a:t>
            </a:r>
          </a:p>
          <a:p>
            <a:r>
              <a:rPr lang="en-US" dirty="0">
                <a:solidFill>
                  <a:srgbClr val="FF0000"/>
                </a:solidFill>
              </a:rPr>
              <a:t>Preliminary Cost Opinion and Project Schedule</a:t>
            </a:r>
          </a:p>
          <a:p>
            <a:r>
              <a:rPr lang="en-US" dirty="0">
                <a:solidFill>
                  <a:srgbClr val="FF0000"/>
                </a:solidFill>
              </a:rPr>
              <a:t>Operating Characteristics and Market Products</a:t>
            </a:r>
          </a:p>
          <a:p>
            <a:endParaRPr lang="en-US" dirty="0">
              <a:solidFill>
                <a:srgbClr val="FF0000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053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609600"/>
            <a:ext cx="9144000" cy="6248400"/>
          </a:xfrm>
          <a:prstGeom prst="rect">
            <a:avLst/>
          </a:prstGeom>
        </p:spPr>
      </p:pic>
      <p:sp>
        <p:nvSpPr>
          <p:cNvPr id="7" name="Title 3"/>
          <p:cNvSpPr txBox="1">
            <a:spLocks/>
          </p:cNvSpPr>
          <p:nvPr/>
        </p:nvSpPr>
        <p:spPr>
          <a:xfrm>
            <a:off x="-28575" y="-19050"/>
            <a:ext cx="8153400" cy="990600"/>
          </a:xfrm>
          <a:prstGeom prst="rect">
            <a:avLst/>
          </a:prstGeom>
        </p:spPr>
        <p:txBody>
          <a:bodyPr/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/>
              <a:t>Previous Study – Plan View (11,800 AF)</a:t>
            </a:r>
          </a:p>
        </p:txBody>
      </p:sp>
    </p:spTree>
    <p:extLst>
      <p:ext uri="{BB962C8B-B14F-4D97-AF65-F5344CB8AC3E}">
        <p14:creationId xmlns:p14="http://schemas.microsoft.com/office/powerpoint/2010/main" val="22842015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 txBox="1">
            <a:spLocks/>
          </p:cNvSpPr>
          <p:nvPr/>
        </p:nvSpPr>
        <p:spPr>
          <a:xfrm>
            <a:off x="-28575" y="-19050"/>
            <a:ext cx="8153400" cy="990600"/>
          </a:xfrm>
          <a:prstGeom prst="rect">
            <a:avLst/>
          </a:prstGeom>
        </p:spPr>
        <p:txBody>
          <a:bodyPr/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/>
              <a:t>Previous Study – Waterway Profile</a:t>
            </a:r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685801"/>
            <a:ext cx="9144000" cy="617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7750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 txBox="1">
            <a:spLocks/>
          </p:cNvSpPr>
          <p:nvPr/>
        </p:nvSpPr>
        <p:spPr>
          <a:xfrm>
            <a:off x="-28575" y="-19050"/>
            <a:ext cx="8153400" cy="990600"/>
          </a:xfrm>
          <a:prstGeom prst="rect">
            <a:avLst/>
          </a:prstGeom>
        </p:spPr>
        <p:txBody>
          <a:bodyPr/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/>
              <a:t>Alternative 1 – Plan View (7,100 AF)</a:t>
            </a:r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9525" y="685800"/>
            <a:ext cx="9134475" cy="617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0352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 txBox="1">
            <a:spLocks/>
          </p:cNvSpPr>
          <p:nvPr/>
        </p:nvSpPr>
        <p:spPr>
          <a:xfrm>
            <a:off x="-28575" y="-19050"/>
            <a:ext cx="8153400" cy="990600"/>
          </a:xfrm>
          <a:prstGeom prst="rect">
            <a:avLst/>
          </a:prstGeom>
        </p:spPr>
        <p:txBody>
          <a:bodyPr/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/>
              <a:t>Alternative 2 – Plan View (11,800 AF)</a:t>
            </a:r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685800"/>
            <a:ext cx="9144000" cy="617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3190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 txBox="1">
            <a:spLocks/>
          </p:cNvSpPr>
          <p:nvPr/>
        </p:nvSpPr>
        <p:spPr>
          <a:xfrm>
            <a:off x="-28575" y="-19050"/>
            <a:ext cx="8153400" cy="990600"/>
          </a:xfrm>
          <a:prstGeom prst="rect">
            <a:avLst/>
          </a:prstGeom>
        </p:spPr>
        <p:txBody>
          <a:bodyPr/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/>
              <a:t>Alternatives 1 and 2 – Waterway Profile</a:t>
            </a:r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9525" y="838200"/>
            <a:ext cx="9134475" cy="645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5084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ergy and Capacity Summary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221409984"/>
              </p:ext>
            </p:extLst>
          </p:nvPr>
        </p:nvGraphicFramePr>
        <p:xfrm>
          <a:off x="612775" y="1600200"/>
          <a:ext cx="8153400" cy="2392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7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17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17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ternativ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ternative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ross Pool (AF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,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,8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nergy Storage (</a:t>
                      </a:r>
                      <a:r>
                        <a:rPr lang="en-US" dirty="0" err="1"/>
                        <a:t>MWh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,7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5,50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nit Capacity</a:t>
                      </a:r>
                      <a:r>
                        <a:rPr lang="en-US" baseline="0" dirty="0"/>
                        <a:t> and </a:t>
                      </a:r>
                      <a:r>
                        <a:rPr lang="en-US" dirty="0"/>
                        <a:t>Configuration (M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200</a:t>
                      </a:r>
                      <a:r>
                        <a:rPr lang="en-US" baseline="0" dirty="0"/>
                        <a:t> (</a:t>
                      </a:r>
                      <a:r>
                        <a:rPr lang="en-US" dirty="0"/>
                        <a:t>3x40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200 (3x40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torage Duration at</a:t>
                      </a:r>
                    </a:p>
                    <a:p>
                      <a:r>
                        <a:rPr lang="en-US" dirty="0"/>
                        <a:t>Full</a:t>
                      </a:r>
                      <a:r>
                        <a:rPr lang="en-US" baseline="0" dirty="0"/>
                        <a:t> Load</a:t>
                      </a:r>
                      <a:r>
                        <a:rPr lang="en-US" dirty="0"/>
                        <a:t> (hour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4100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inion of Probable Cost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871143117"/>
              </p:ext>
            </p:extLst>
          </p:nvPr>
        </p:nvGraphicFramePr>
        <p:xfrm>
          <a:off x="612775" y="1600200"/>
          <a:ext cx="8153400" cy="3771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3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36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lternativ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lternative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US" sz="1600" b="1" dirty="0"/>
                        <a:t>Direct Co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lvl="1"/>
                      <a:r>
                        <a:rPr lang="en-US" sz="1600" dirty="0"/>
                        <a:t>Reservoirs</a:t>
                      </a:r>
                      <a:r>
                        <a:rPr lang="en-US" sz="1600" baseline="0" dirty="0"/>
                        <a:t> and Dams</a:t>
                      </a:r>
                      <a:r>
                        <a:rPr lang="en-US" sz="1600" baseline="30000" dirty="0"/>
                        <a:t>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448,10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714,0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lvl="1"/>
                      <a:r>
                        <a:rPr lang="en-US" sz="1600" dirty="0"/>
                        <a:t>Powerhouse Structure</a:t>
                      </a:r>
                      <a:r>
                        <a:rPr lang="en-US" sz="1600" baseline="0" dirty="0"/>
                        <a:t> Civil Work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138,00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138,0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lvl="1"/>
                      <a:r>
                        <a:rPr lang="en-US" sz="1600" dirty="0"/>
                        <a:t>Water</a:t>
                      </a:r>
                      <a:r>
                        <a:rPr lang="en-US" sz="1600" baseline="0" dirty="0"/>
                        <a:t> Conveyance System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265,00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265,0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lvl="1"/>
                      <a:r>
                        <a:rPr lang="en-US" sz="1600" dirty="0"/>
                        <a:t>Powerhouse E/M Equi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850,00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850,0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lvl="1"/>
                      <a:r>
                        <a:rPr lang="en-US" sz="1600" dirty="0"/>
                        <a:t>Additional Directs</a:t>
                      </a:r>
                      <a:r>
                        <a:rPr lang="en-US" sz="1600" baseline="30000" dirty="0"/>
                        <a:t>2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444,91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484,8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US" sz="1600" b="1" dirty="0"/>
                        <a:t>Subtotal Direct Construction OP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2,146,01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2,451,8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US" sz="1600" b="1" dirty="0"/>
                        <a:t>Owner’s Indirect Costs</a:t>
                      </a:r>
                      <a:r>
                        <a:rPr lang="en-US" sz="1600" b="1" baseline="0" dirty="0"/>
                        <a:t> (20%)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429,203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490,36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US" sz="1600" b="1" dirty="0"/>
                        <a:t>Total</a:t>
                      </a:r>
                      <a:r>
                        <a:rPr lang="en-US" sz="1600" b="1" baseline="0" dirty="0"/>
                        <a:t> Construction Direct and Indirect OPCC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2,575,218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2,942,16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en-US" sz="1600" b="1" dirty="0"/>
                        <a:t>Estimated OPCC ($/MW;</a:t>
                      </a:r>
                      <a:r>
                        <a:rPr lang="en-US" sz="1600" b="1" baseline="0" dirty="0"/>
                        <a:t> $/</a:t>
                      </a:r>
                      <a:r>
                        <a:rPr lang="en-US" sz="1600" b="1" baseline="0" dirty="0" err="1"/>
                        <a:t>MWh</a:t>
                      </a:r>
                      <a:r>
                        <a:rPr lang="en-US" sz="1600" b="1" baseline="0" dirty="0"/>
                        <a:t>)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2,146,000; $17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2,452,000; $115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85800" y="5562600"/>
            <a:ext cx="8001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/>
              <a:t>Notes:</a:t>
            </a:r>
          </a:p>
          <a:p>
            <a:r>
              <a:rPr lang="en-US" sz="1400" dirty="0"/>
              <a:t>1 – No spillway is assumed to be required for either alternative.</a:t>
            </a:r>
          </a:p>
          <a:p>
            <a:r>
              <a:rPr lang="en-US" sz="1400" dirty="0"/>
              <a:t>2 – These additional directs are itemized in HDR’s study report.  </a:t>
            </a:r>
          </a:p>
          <a:p>
            <a:r>
              <a:rPr lang="en-US" sz="1400" dirty="0"/>
              <a:t>      Transmission, interconnection, and land costs are not included in this cost opinion.</a:t>
            </a:r>
          </a:p>
        </p:txBody>
      </p:sp>
    </p:spTree>
    <p:extLst>
      <p:ext uri="{BB962C8B-B14F-4D97-AF65-F5344CB8AC3E}">
        <p14:creationId xmlns:p14="http://schemas.microsoft.com/office/powerpoint/2010/main" val="1537952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_rels/them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image" Target="../media/image19.jpeg"/></Relationships>
</file>

<file path=ppt/theme/theme1.xml><?xml version="1.0" encoding="utf-8"?>
<a:theme xmlns:a="http://schemas.openxmlformats.org/drawingml/2006/main" name="blank">
  <a:themeElements>
    <a:clrScheme name="E3 Colors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005070"/>
      </a:accent1>
      <a:accent2>
        <a:srgbClr val="947C30"/>
      </a:accent2>
      <a:accent3>
        <a:srgbClr val="9F2214"/>
      </a:accent3>
      <a:accent4>
        <a:srgbClr val="4D4D4D"/>
      </a:accent4>
      <a:accent5>
        <a:srgbClr val="B9CDE5"/>
      </a:accent5>
      <a:accent6>
        <a:srgbClr val="E85F31"/>
      </a:accent6>
      <a:hlink>
        <a:srgbClr val="8AAC46"/>
      </a:hlink>
      <a:folHlink>
        <a:srgbClr val="990033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BLANK">
  <a:themeElements>
    <a:clrScheme name="Custom 6">
      <a:dk1>
        <a:srgbClr val="005070"/>
      </a:dk1>
      <a:lt1>
        <a:srgbClr val="FFFFFF"/>
      </a:lt1>
      <a:dk2>
        <a:srgbClr val="992702"/>
      </a:dk2>
      <a:lt2>
        <a:srgbClr val="808080"/>
      </a:lt2>
      <a:accent1>
        <a:srgbClr val="005070"/>
      </a:accent1>
      <a:accent2>
        <a:srgbClr val="B1953A"/>
      </a:accent2>
      <a:accent3>
        <a:srgbClr val="992702"/>
      </a:accent3>
      <a:accent4>
        <a:srgbClr val="704500"/>
      </a:accent4>
      <a:accent5>
        <a:srgbClr val="BD5500"/>
      </a:accent5>
      <a:accent6>
        <a:srgbClr val="4D7000"/>
      </a:accent6>
      <a:hlink>
        <a:srgbClr val="005070"/>
      </a:hlink>
      <a:folHlink>
        <a:srgbClr val="005070"/>
      </a:folHlink>
    </a:clrScheme>
    <a:fontScheme name="PowerPoint Template_Fina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 Template_Fi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E3 Share">
  <a:themeElements>
    <a:clrScheme name="E3">
      <a:dk1>
        <a:sysClr val="windowText" lastClr="000000"/>
      </a:dk1>
      <a:lt1>
        <a:sysClr val="window" lastClr="FFFFFF"/>
      </a:lt1>
      <a:dk2>
        <a:srgbClr val="315361"/>
      </a:dk2>
      <a:lt2>
        <a:srgbClr val="EEECE1"/>
      </a:lt2>
      <a:accent1>
        <a:srgbClr val="034E6E"/>
      </a:accent1>
      <a:accent2>
        <a:srgbClr val="AF7E00"/>
      </a:accent2>
      <a:accent3>
        <a:srgbClr val="AF2200"/>
      </a:accent3>
      <a:accent4>
        <a:srgbClr val="007E33"/>
      </a:accent4>
      <a:accent5>
        <a:srgbClr val="AF5D00"/>
      </a:accent5>
      <a:accent6>
        <a:srgbClr val="0A1978"/>
      </a:accent6>
      <a:hlink>
        <a:srgbClr val="0000FF"/>
      </a:hlink>
      <a:folHlink>
        <a:srgbClr val="800080"/>
      </a:folHlink>
    </a:clrScheme>
    <a:fontScheme name="PowerPoint Template_Fina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 Template_Fi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Theme1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PG&amp;E_CF_PGE097">
  <a:themeElements>
    <a:clrScheme name="Current">
      <a:dk1>
        <a:srgbClr val="000000"/>
      </a:dk1>
      <a:lt1>
        <a:srgbClr val="FFFFFF"/>
      </a:lt1>
      <a:dk2>
        <a:srgbClr val="007FA5"/>
      </a:dk2>
      <a:lt2>
        <a:srgbClr val="FFCB3D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>
          <a:defRPr/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FA5"/>
        </a:dk2>
        <a:lt2>
          <a:srgbClr val="FFCB3D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blank">
  <a:themeElements>
    <a:clrScheme name="E3 Colors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005070"/>
      </a:accent1>
      <a:accent2>
        <a:srgbClr val="947C30"/>
      </a:accent2>
      <a:accent3>
        <a:srgbClr val="9F2214"/>
      </a:accent3>
      <a:accent4>
        <a:srgbClr val="4D4D4D"/>
      </a:accent4>
      <a:accent5>
        <a:srgbClr val="B9CDE5"/>
      </a:accent5>
      <a:accent6>
        <a:srgbClr val="E85F31"/>
      </a:accent6>
      <a:hlink>
        <a:srgbClr val="8AAC46"/>
      </a:hlink>
      <a:folHlink>
        <a:srgbClr val="990033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5_PG&amp;E_CF_PGE097">
  <a:themeElements>
    <a:clrScheme name="Current">
      <a:dk1>
        <a:srgbClr val="000000"/>
      </a:dk1>
      <a:lt1>
        <a:srgbClr val="FFFFFF"/>
      </a:lt1>
      <a:dk2>
        <a:srgbClr val="007FA5"/>
      </a:dk2>
      <a:lt2>
        <a:srgbClr val="FFCB3D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>
          <a:defRPr/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FA5"/>
        </a:dk2>
        <a:lt2>
          <a:srgbClr val="FFCB3D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9_blank">
  <a:themeElements>
    <a:clrScheme name="E3 Colors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005070"/>
      </a:accent1>
      <a:accent2>
        <a:srgbClr val="947C30"/>
      </a:accent2>
      <a:accent3>
        <a:srgbClr val="9F2214"/>
      </a:accent3>
      <a:accent4>
        <a:srgbClr val="4D4D4D"/>
      </a:accent4>
      <a:accent5>
        <a:srgbClr val="B9CDE5"/>
      </a:accent5>
      <a:accent6>
        <a:srgbClr val="E85F31"/>
      </a:accent6>
      <a:hlink>
        <a:srgbClr val="8AAC46"/>
      </a:hlink>
      <a:folHlink>
        <a:srgbClr val="990033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E3 theme">
  <a:themeElements>
    <a:clrScheme name="Custom 6">
      <a:dk1>
        <a:srgbClr val="005070"/>
      </a:dk1>
      <a:lt1>
        <a:srgbClr val="FFFFFF"/>
      </a:lt1>
      <a:dk2>
        <a:srgbClr val="992702"/>
      </a:dk2>
      <a:lt2>
        <a:srgbClr val="808080"/>
      </a:lt2>
      <a:accent1>
        <a:srgbClr val="005070"/>
      </a:accent1>
      <a:accent2>
        <a:srgbClr val="B1953A"/>
      </a:accent2>
      <a:accent3>
        <a:srgbClr val="992702"/>
      </a:accent3>
      <a:accent4>
        <a:srgbClr val="704500"/>
      </a:accent4>
      <a:accent5>
        <a:srgbClr val="BD5500"/>
      </a:accent5>
      <a:accent6>
        <a:srgbClr val="4D7000"/>
      </a:accent6>
      <a:hlink>
        <a:srgbClr val="005070"/>
      </a:hlink>
      <a:folHlink>
        <a:srgbClr val="005070"/>
      </a:folHlink>
    </a:clrScheme>
    <a:fontScheme name="PowerPoint Template_Fina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 Template_Fi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E3 theme">
  <a:themeElements>
    <a:clrScheme name="E3">
      <a:dk1>
        <a:sysClr val="windowText" lastClr="000000"/>
      </a:dk1>
      <a:lt1>
        <a:sysClr val="window" lastClr="FFFFFF"/>
      </a:lt1>
      <a:dk2>
        <a:srgbClr val="315361"/>
      </a:dk2>
      <a:lt2>
        <a:srgbClr val="EEECE1"/>
      </a:lt2>
      <a:accent1>
        <a:srgbClr val="034E6E"/>
      </a:accent1>
      <a:accent2>
        <a:srgbClr val="AF7E00"/>
      </a:accent2>
      <a:accent3>
        <a:srgbClr val="AF2200"/>
      </a:accent3>
      <a:accent4>
        <a:srgbClr val="007E33"/>
      </a:accent4>
      <a:accent5>
        <a:srgbClr val="AF5D00"/>
      </a:accent5>
      <a:accent6>
        <a:srgbClr val="0A1978"/>
      </a:accent6>
      <a:hlink>
        <a:srgbClr val="0000FF"/>
      </a:hlink>
      <a:folHlink>
        <a:srgbClr val="800080"/>
      </a:folHlink>
    </a:clrScheme>
    <a:fontScheme name="PowerPoint Template_Fina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 Template_Fi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23_blank">
  <a:themeElements>
    <a:clrScheme name="E3">
      <a:dk1>
        <a:sysClr val="windowText" lastClr="000000"/>
      </a:dk1>
      <a:lt1>
        <a:sysClr val="window" lastClr="FFFFFF"/>
      </a:lt1>
      <a:dk2>
        <a:srgbClr val="315361"/>
      </a:dk2>
      <a:lt2>
        <a:srgbClr val="EEECE1"/>
      </a:lt2>
      <a:accent1>
        <a:srgbClr val="034E6E"/>
      </a:accent1>
      <a:accent2>
        <a:srgbClr val="AF7E00"/>
      </a:accent2>
      <a:accent3>
        <a:srgbClr val="AF2200"/>
      </a:accent3>
      <a:accent4>
        <a:srgbClr val="007E33"/>
      </a:accent4>
      <a:accent5>
        <a:srgbClr val="AF5D00"/>
      </a:accent5>
      <a:accent6>
        <a:srgbClr val="0A1978"/>
      </a:accent6>
      <a:hlink>
        <a:srgbClr val="0000FF"/>
      </a:hlink>
      <a:folHlink>
        <a:srgbClr val="80008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7_blank">
  <a:themeElements>
    <a:clrScheme name="E3">
      <a:dk1>
        <a:sysClr val="windowText" lastClr="000000"/>
      </a:dk1>
      <a:lt1>
        <a:sysClr val="window" lastClr="FFFFFF"/>
      </a:lt1>
      <a:dk2>
        <a:srgbClr val="315361"/>
      </a:dk2>
      <a:lt2>
        <a:srgbClr val="EEECE1"/>
      </a:lt2>
      <a:accent1>
        <a:srgbClr val="034E6E"/>
      </a:accent1>
      <a:accent2>
        <a:srgbClr val="AF7E00"/>
      </a:accent2>
      <a:accent3>
        <a:srgbClr val="AF2200"/>
      </a:accent3>
      <a:accent4>
        <a:srgbClr val="007E33"/>
      </a:accent4>
      <a:accent5>
        <a:srgbClr val="AF5D00"/>
      </a:accent5>
      <a:accent6>
        <a:srgbClr val="0A1978"/>
      </a:accent6>
      <a:hlink>
        <a:srgbClr val="0000FF"/>
      </a:hlink>
      <a:folHlink>
        <a:srgbClr val="80008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28_BLANK">
  <a:themeElements>
    <a:clrScheme name="Custom 6">
      <a:dk1>
        <a:srgbClr val="005070"/>
      </a:dk1>
      <a:lt1>
        <a:srgbClr val="FFFFFF"/>
      </a:lt1>
      <a:dk2>
        <a:srgbClr val="992702"/>
      </a:dk2>
      <a:lt2>
        <a:srgbClr val="808080"/>
      </a:lt2>
      <a:accent1>
        <a:srgbClr val="005070"/>
      </a:accent1>
      <a:accent2>
        <a:srgbClr val="B1953A"/>
      </a:accent2>
      <a:accent3>
        <a:srgbClr val="992702"/>
      </a:accent3>
      <a:accent4>
        <a:srgbClr val="704500"/>
      </a:accent4>
      <a:accent5>
        <a:srgbClr val="BD5500"/>
      </a:accent5>
      <a:accent6>
        <a:srgbClr val="4D7000"/>
      </a:accent6>
      <a:hlink>
        <a:srgbClr val="005070"/>
      </a:hlink>
      <a:folHlink>
        <a:srgbClr val="005070"/>
      </a:folHlink>
    </a:clrScheme>
    <a:fontScheme name="PowerPoint Template_Fina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 Template_Fi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30_BLANK">
  <a:themeElements>
    <a:clrScheme name="Custom 6">
      <a:dk1>
        <a:srgbClr val="005070"/>
      </a:dk1>
      <a:lt1>
        <a:srgbClr val="FFFFFF"/>
      </a:lt1>
      <a:dk2>
        <a:srgbClr val="992702"/>
      </a:dk2>
      <a:lt2>
        <a:srgbClr val="808080"/>
      </a:lt2>
      <a:accent1>
        <a:srgbClr val="005070"/>
      </a:accent1>
      <a:accent2>
        <a:srgbClr val="B1953A"/>
      </a:accent2>
      <a:accent3>
        <a:srgbClr val="992702"/>
      </a:accent3>
      <a:accent4>
        <a:srgbClr val="704500"/>
      </a:accent4>
      <a:accent5>
        <a:srgbClr val="BD5500"/>
      </a:accent5>
      <a:accent6>
        <a:srgbClr val="4D7000"/>
      </a:accent6>
      <a:hlink>
        <a:srgbClr val="005070"/>
      </a:hlink>
      <a:folHlink>
        <a:srgbClr val="005070"/>
      </a:folHlink>
    </a:clrScheme>
    <a:fontScheme name="PowerPoint Template_Fina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 Template_Fi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Median">
  <a:themeElements>
    <a:clrScheme name="Median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">
  <a:themeElements>
    <a:clrScheme name="E3 Colors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005070"/>
      </a:accent1>
      <a:accent2>
        <a:srgbClr val="947C30"/>
      </a:accent2>
      <a:accent3>
        <a:srgbClr val="9F2214"/>
      </a:accent3>
      <a:accent4>
        <a:srgbClr val="4D4D4D"/>
      </a:accent4>
      <a:accent5>
        <a:srgbClr val="B9CDE5"/>
      </a:accent5>
      <a:accent6>
        <a:srgbClr val="E85F31"/>
      </a:accent6>
      <a:hlink>
        <a:srgbClr val="8AAC46"/>
      </a:hlink>
      <a:folHlink>
        <a:srgbClr val="990033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owerPoint Template_Final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blank">
  <a:themeElements>
    <a:clrScheme name="E3 Colors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005070"/>
      </a:accent1>
      <a:accent2>
        <a:srgbClr val="947C30"/>
      </a:accent2>
      <a:accent3>
        <a:srgbClr val="9F2214"/>
      </a:accent3>
      <a:accent4>
        <a:srgbClr val="4D4D4D"/>
      </a:accent4>
      <a:accent5>
        <a:srgbClr val="B9CDE5"/>
      </a:accent5>
      <a:accent6>
        <a:srgbClr val="E85F31"/>
      </a:accent6>
      <a:hlink>
        <a:srgbClr val="8AAC46"/>
      </a:hlink>
      <a:folHlink>
        <a:srgbClr val="990033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blank">
  <a:themeElements>
    <a:clrScheme name="E3 Colors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005070"/>
      </a:accent1>
      <a:accent2>
        <a:srgbClr val="947C30"/>
      </a:accent2>
      <a:accent3>
        <a:srgbClr val="9F2214"/>
      </a:accent3>
      <a:accent4>
        <a:srgbClr val="4D4D4D"/>
      </a:accent4>
      <a:accent5>
        <a:srgbClr val="B9CDE5"/>
      </a:accent5>
      <a:accent6>
        <a:srgbClr val="E85F31"/>
      </a:accent6>
      <a:hlink>
        <a:srgbClr val="8AAC46"/>
      </a:hlink>
      <a:folHlink>
        <a:srgbClr val="990033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E3 Share">
  <a:themeElements>
    <a:clrScheme name="Custom 6">
      <a:dk1>
        <a:srgbClr val="005070"/>
      </a:dk1>
      <a:lt1>
        <a:srgbClr val="FFFFFF"/>
      </a:lt1>
      <a:dk2>
        <a:srgbClr val="992702"/>
      </a:dk2>
      <a:lt2>
        <a:srgbClr val="808080"/>
      </a:lt2>
      <a:accent1>
        <a:srgbClr val="005070"/>
      </a:accent1>
      <a:accent2>
        <a:srgbClr val="B1953A"/>
      </a:accent2>
      <a:accent3>
        <a:srgbClr val="992702"/>
      </a:accent3>
      <a:accent4>
        <a:srgbClr val="704500"/>
      </a:accent4>
      <a:accent5>
        <a:srgbClr val="BD5500"/>
      </a:accent5>
      <a:accent6>
        <a:srgbClr val="4D7000"/>
      </a:accent6>
      <a:hlink>
        <a:srgbClr val="005070"/>
      </a:hlink>
      <a:folHlink>
        <a:srgbClr val="005070"/>
      </a:folHlink>
    </a:clrScheme>
    <a:fontScheme name="PowerPoint Template_Fina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 Template_Fi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E3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blank">
  <a:themeElements>
    <a:clrScheme name="E3 Colors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005070"/>
      </a:accent1>
      <a:accent2>
        <a:srgbClr val="947C30"/>
      </a:accent2>
      <a:accent3>
        <a:srgbClr val="9F2214"/>
      </a:accent3>
      <a:accent4>
        <a:srgbClr val="4D4D4D"/>
      </a:accent4>
      <a:accent5>
        <a:srgbClr val="B9CDE5"/>
      </a:accent5>
      <a:accent6>
        <a:srgbClr val="E85F31"/>
      </a:accent6>
      <a:hlink>
        <a:srgbClr val="8AAC46"/>
      </a:hlink>
      <a:folHlink>
        <a:srgbClr val="990033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532</TotalTime>
  <Words>398</Words>
  <Application>Microsoft Office PowerPoint</Application>
  <PresentationFormat>On-screen Show (4:3)</PresentationFormat>
  <Paragraphs>10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44" baseType="lpstr">
      <vt:lpstr>ＭＳ Ｐゴシック</vt:lpstr>
      <vt:lpstr>Arial</vt:lpstr>
      <vt:lpstr>Calibri</vt:lpstr>
      <vt:lpstr>Times New Roman</vt:lpstr>
      <vt:lpstr>Tw Cen MT</vt:lpstr>
      <vt:lpstr>Verdana</vt:lpstr>
      <vt:lpstr>Wingdings</vt:lpstr>
      <vt:lpstr>Wingdings 2</vt:lpstr>
      <vt:lpstr>blank</vt:lpstr>
      <vt:lpstr>Custom Design</vt:lpstr>
      <vt:lpstr>1_blank</vt:lpstr>
      <vt:lpstr>PowerPoint Template_Final</vt:lpstr>
      <vt:lpstr>5_blank</vt:lpstr>
      <vt:lpstr>6_blank</vt:lpstr>
      <vt:lpstr>E3 Share</vt:lpstr>
      <vt:lpstr>E3</vt:lpstr>
      <vt:lpstr>7_blank</vt:lpstr>
      <vt:lpstr>8_BLANK</vt:lpstr>
      <vt:lpstr>1_E3 Share</vt:lpstr>
      <vt:lpstr>Theme1</vt:lpstr>
      <vt:lpstr>3_PG&amp;E_CF_PGE097</vt:lpstr>
      <vt:lpstr>16_blank</vt:lpstr>
      <vt:lpstr>5_PG&amp;E_CF_PGE097</vt:lpstr>
      <vt:lpstr>19_blank</vt:lpstr>
      <vt:lpstr>E3 theme</vt:lpstr>
      <vt:lpstr>2_E3 theme</vt:lpstr>
      <vt:lpstr>23_blank</vt:lpstr>
      <vt:lpstr>27_blank</vt:lpstr>
      <vt:lpstr>28_BLANK</vt:lpstr>
      <vt:lpstr>30_BLANK</vt:lpstr>
      <vt:lpstr>Median</vt:lpstr>
      <vt:lpstr>think-cell Slide</vt:lpstr>
      <vt:lpstr>PowerPoint Presentation</vt:lpstr>
      <vt:lpstr>Work Completed to D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ergy and Capacity Summary</vt:lpstr>
      <vt:lpstr>Opinion of Probable Cost</vt:lpstr>
      <vt:lpstr>Conceptual Development Schedule</vt:lpstr>
      <vt:lpstr>Summary of Operating Characteristics</vt:lpstr>
      <vt:lpstr>Summary of Market Products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Title&gt;</dc:title>
  <dc:creator>Gabe Kwok</dc:creator>
  <cp:lastModifiedBy>Kushal Patel</cp:lastModifiedBy>
  <cp:revision>806</cp:revision>
  <cp:lastPrinted>2015-11-25T20:27:31Z</cp:lastPrinted>
  <dcterms:created xsi:type="dcterms:W3CDTF">2013-03-11T21:19:07Z</dcterms:created>
  <dcterms:modified xsi:type="dcterms:W3CDTF">2017-04-18T20:57:42Z</dcterms:modified>
</cp:coreProperties>
</file>